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media/image38.jpg" ContentType="image/png"/>
  <Override PartName="/ppt/comments/comment3.xml" ContentType="application/vnd.openxmlformats-officedocument.presentationml.comment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2"/>
  </p:notesMasterIdLst>
  <p:sldIdLst>
    <p:sldId id="258" r:id="rId3"/>
    <p:sldId id="280" r:id="rId4"/>
    <p:sldId id="305" r:id="rId5"/>
    <p:sldId id="281" r:id="rId6"/>
    <p:sldId id="282" r:id="rId7"/>
    <p:sldId id="283" r:id="rId8"/>
    <p:sldId id="284" r:id="rId9"/>
    <p:sldId id="285" r:id="rId10"/>
    <p:sldId id="286" r:id="rId11"/>
    <p:sldId id="287" r:id="rId12"/>
    <p:sldId id="306" r:id="rId13"/>
    <p:sldId id="288" r:id="rId14"/>
    <p:sldId id="290" r:id="rId15"/>
    <p:sldId id="291" r:id="rId16"/>
    <p:sldId id="292" r:id="rId17"/>
    <p:sldId id="307" r:id="rId18"/>
    <p:sldId id="308" r:id="rId19"/>
    <p:sldId id="294" r:id="rId20"/>
    <p:sldId id="295" r:id="rId21"/>
    <p:sldId id="296" r:id="rId22"/>
    <p:sldId id="297" r:id="rId23"/>
    <p:sldId id="298" r:id="rId24"/>
    <p:sldId id="299" r:id="rId25"/>
    <p:sldId id="300" r:id="rId26"/>
    <p:sldId id="301" r:id="rId27"/>
    <p:sldId id="302" r:id="rId28"/>
    <p:sldId id="303" r:id="rId29"/>
    <p:sldId id="304" r:id="rId30"/>
    <p:sldId id="275" r:id="rId31"/>
  </p:sldIdLst>
  <p:sldSz cx="9144000" cy="6858000" type="screen4x3"/>
  <p:notesSz cx="6858000" cy="9144000"/>
  <p:custDataLst>
    <p:tags r:id="rId3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7209" autoAdjust="0"/>
  </p:normalViewPr>
  <p:slideViewPr>
    <p:cSldViewPr snapToGrid="0">
      <p:cViewPr>
        <p:scale>
          <a:sx n="70" d="100"/>
          <a:sy n="70" d="100"/>
        </p:scale>
        <p:origin x="1410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3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0:26:01.658" idx="1">
    <p:pos x="10" y="10"/>
    <p:text>粒子流算法：将径迹测量得到的动量和量能器测量得到的能量匹配，确定jet径迹，进而确定粒子能量和类型</p:text>
    <p:extLst>
      <p:ext uri="{C676402C-5697-4E1C-873F-D02D1690AC5C}">
        <p15:threadingInfo xmlns:p15="http://schemas.microsoft.com/office/powerpoint/2012/main" timeZoneBias="-480"/>
      </p:ext>
    </p:extLst>
  </p:cm>
  <p:cm authorId="1" dt="2017-10-13T10:28:05.347" idx="2">
    <p:pos x="146" y="146"/>
    <p:text>半数字读出：粒子流算法要求量能器单元足够小，能够分辨邻近事例，读出方案分为模拟读出和数字读出方案，模拟读出，能量分辨率高，电子学开销极大；有模拟结果表明，即使使用1-bit读出，即一个比较器，也能够实现所需要的能量分辨率</p:text>
    <p:extLst>
      <p:ext uri="{C676402C-5697-4E1C-873F-D02D1690AC5C}">
        <p15:threadingInfo xmlns:p15="http://schemas.microsoft.com/office/powerpoint/2012/main" timeZoneBias="-480"/>
      </p:ext>
    </p:extLst>
  </p:cm>
  <p:cm authorId="1" dt="2017-10-13T10:31:40.032" idx="3">
    <p:pos x="282" y="282"/>
    <p:text>为了提高能量分辨率，使用多个阈读出，即半数字读出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0:58:51.345" idx="4">
    <p:pos x="633" y="1047"/>
    <p:text>用Tektronix大的信号源再刻度一次</p:text>
    <p:extLst>
      <p:ext uri="{C676402C-5697-4E1C-873F-D02D1690AC5C}">
        <p15:threadingInfo xmlns:p15="http://schemas.microsoft.com/office/powerpoint/2012/main" timeZoneBias="-480"/>
      </p:ext>
    </p:extLst>
  </p:cm>
  <p:cm authorId="1" dt="2017-10-13T10:59:44.704" idx="6">
    <p:pos x="633" y="1339"/>
    <p:text>64通道的刻度曲线都给出来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0-13T11:44:59.734" idx="7">
    <p:pos x="10" y="10"/>
    <p:text>这里X射线测量效率是否需要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各位评委老师和同学，大家下午好，我的名字叫王宇，来自近代物理系，我的导师是刘树彬老师和封常青老师，很高兴能够来参加今天的华为奖学金答辩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908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86975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163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4E6A574-ED3C-4E6C-8E01-46F89617F34A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7540C38-187E-4C45-9C9C-6A8494B407EB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BD7947B-8DB5-4938-B1A2-A01AA43BF6D9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5370BCF-C512-49FA-8852-342713E18FEE}" type="datetimeFigureOut">
              <a:rPr lang="zh-CN" altLang="en-US" smtClean="0"/>
              <a:pPr/>
              <a:t>2017/11/6</a:t>
            </a:fld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413251" y="6408740"/>
            <a:ext cx="3159125" cy="365125"/>
          </a:xfr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86F07-C6EA-43CC-B90F-EA9FF95DE00D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45BA4-8FE1-41CA-91D9-4B9667162D8C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A0866-2D91-4626-8492-0F1CCCA111B0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37B5B-613B-4BAC-A0EC-B61DD1EE7000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98ADE-7322-4C6B-9D14-350AAAFD8ABB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54CA9-8634-4741-B591-A1DFC4E44FFE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CC3B9-F49F-48E0-9D20-D01E56DC5097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1E5C-2F1C-4FA8-B7F2-BC77AF604E5E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65A80-8B4D-4D98-8072-2B42F21EAD12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BCBBB-C71D-43CE-94C1-B2DA7758D66E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36D5F8A-9084-43F2-AEAB-5E473832B589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E9E938-3FA1-4C67-9F78-9BB4EB48BD01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15E28FD-567E-41F7-BB89-7CBF2BBCB09D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EF4D451-7086-4062-9BE8-5C908AFEFA86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702AB91-895B-4191-BF77-B826A7816715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C629A85-564E-4F78-AB70-1C75B32FD2D3}" type="datetime1">
              <a:rPr lang="zh-CN" altLang="en-US" smtClean="0"/>
              <a:t>2017/11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20593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7263" y="6204404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33948A-0B01-4D26-80E2-C541C3CC2D30}" type="datetime1">
              <a:rPr lang="zh-CN" altLang="en-US" smtClean="0"/>
              <a:t>2017/11/6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1.emf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7" Type="http://schemas.openxmlformats.org/officeDocument/2006/relationships/image" Target="../media/image42.jpe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3.xml"/><Relationship Id="rId5" Type="http://schemas.openxmlformats.org/officeDocument/2006/relationships/comments" Target="../comments/comment3.xml"/><Relationship Id="rId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/>
          <p:cNvSpPr/>
          <p:nvPr/>
        </p:nvSpPr>
        <p:spPr>
          <a:xfrm>
            <a:off x="0" y="4081463"/>
            <a:ext cx="9144000" cy="357187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75" name="TextBox 5" hidden="1"/>
          <p:cNvSpPr txBox="1">
            <a:spLocks noChangeArrowheads="1"/>
          </p:cNvSpPr>
          <p:nvPr/>
        </p:nvSpPr>
        <p:spPr bwMode="auto">
          <a:xfrm>
            <a:off x="1939925" y="1954213"/>
            <a:ext cx="1943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6" name="矩形 6" hidden="1"/>
          <p:cNvSpPr>
            <a:spLocks noChangeArrowheads="1"/>
          </p:cNvSpPr>
          <p:nvPr/>
        </p:nvSpPr>
        <p:spPr bwMode="auto">
          <a:xfrm>
            <a:off x="1939925" y="3025775"/>
            <a:ext cx="14716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7" name="矩形 7" hidden="1"/>
          <p:cNvSpPr>
            <a:spLocks noChangeArrowheads="1"/>
          </p:cNvSpPr>
          <p:nvPr/>
        </p:nvSpPr>
        <p:spPr bwMode="auto">
          <a:xfrm>
            <a:off x="2011363" y="4240213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8" name="矩形 8" hidden="1"/>
          <p:cNvSpPr>
            <a:spLocks noChangeArrowheads="1"/>
          </p:cNvSpPr>
          <p:nvPr/>
        </p:nvSpPr>
        <p:spPr bwMode="auto">
          <a:xfrm>
            <a:off x="2011363" y="5526088"/>
            <a:ext cx="147161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079" name="TextBox 27"/>
          <p:cNvSpPr txBox="1">
            <a:spLocks noChangeArrowheads="1"/>
          </p:cNvSpPr>
          <p:nvPr/>
        </p:nvSpPr>
        <p:spPr bwMode="auto">
          <a:xfrm>
            <a:off x="1656514" y="2546381"/>
            <a:ext cx="5830972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CEPC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强子量能器</a:t>
            </a:r>
            <a:r>
              <a:rPr lang="en-US" altLang="zh-CN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GEM</a:t>
            </a:r>
            <a:r>
              <a:rPr lang="zh-CN" altLang="en-US" sz="4400" b="1" dirty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方案预研</a:t>
            </a:r>
            <a:r>
              <a:rPr lang="zh-CN" altLang="en-US" sz="4400" b="1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进展</a:t>
            </a:r>
            <a:endParaRPr lang="zh-CN" altLang="en-US" sz="14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0" name="TextBox 28"/>
          <p:cNvSpPr txBox="1">
            <a:spLocks noChangeArrowheads="1"/>
          </p:cNvSpPr>
          <p:nvPr/>
        </p:nvSpPr>
        <p:spPr bwMode="auto">
          <a:xfrm>
            <a:off x="1711228" y="5150427"/>
            <a:ext cx="59004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王宇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树彬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洪道金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刘建北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封常青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周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2000" dirty="0" err="1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yi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en-US" altLang="zh-CN" sz="2000" dirty="0" smtClean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核探测与核电子学国家实验室</a:t>
            </a:r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(USTC)</a:t>
            </a:r>
          </a:p>
          <a:p>
            <a:pPr algn="ctr"/>
            <a:r>
              <a:rPr lang="en-US" altLang="zh-CN" sz="2000" dirty="0" smtClean="0">
                <a:solidFill>
                  <a:srgbClr val="00417C"/>
                </a:solidFill>
                <a:latin typeface="微软雅黑" pitchFamily="34" charset="-122"/>
                <a:ea typeface="微软雅黑" pitchFamily="34" charset="-122"/>
              </a:rPr>
              <a:t>2017.11.12</a:t>
            </a:r>
            <a:endParaRPr lang="zh-CN" altLang="en-US" sz="2000" dirty="0">
              <a:solidFill>
                <a:srgbClr val="00417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2" name="矩形 10"/>
          <p:cNvSpPr>
            <a:spLocks noChangeArrowheads="1"/>
          </p:cNvSpPr>
          <p:nvPr/>
        </p:nvSpPr>
        <p:spPr bwMode="auto">
          <a:xfrm>
            <a:off x="3143250" y="4108450"/>
            <a:ext cx="30364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国科学技术大学   快电子学实验室</a:t>
            </a:r>
          </a:p>
        </p:txBody>
      </p:sp>
      <p:sp>
        <p:nvSpPr>
          <p:cNvPr id="3084" name="矩形 12"/>
          <p:cNvSpPr>
            <a:spLocks noChangeArrowheads="1"/>
          </p:cNvSpPr>
          <p:nvPr/>
        </p:nvSpPr>
        <p:spPr bwMode="auto">
          <a:xfrm>
            <a:off x="4000500" y="1987550"/>
            <a:ext cx="13366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您的校徽</a:t>
            </a:r>
            <a:r>
              <a: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logo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75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 advTm="1541">
        <p:cut/>
      </p:transition>
    </mc:Choice>
    <mc:Fallback xmlns="">
      <p:transition advTm="1541"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951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可扩展读出系统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98" y="1209698"/>
            <a:ext cx="8933404" cy="2797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36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7154214" cy="5172234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MICROROC</a:t>
            </a:r>
            <a:r>
              <a:rPr lang="zh-CN" altLang="en-US" dirty="0" smtClean="0"/>
              <a:t> 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*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半</a:t>
            </a:r>
            <a:r>
              <a:rPr lang="zh-CN" altLang="en-US" dirty="0" smtClean="0"/>
              <a:t>数字化读出芯片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457200" y="3981275"/>
            <a:ext cx="371901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CRORO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关键参数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道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读出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阈值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由片上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-bitDA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设置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最小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分辨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荷量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fC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10" y="1953890"/>
            <a:ext cx="1773518" cy="1750386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3781634" y="1283685"/>
            <a:ext cx="5308589" cy="4380136"/>
            <a:chOff x="3582161" y="1514518"/>
            <a:chExt cx="5546700" cy="4620938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82161" y="1514518"/>
              <a:ext cx="5546700" cy="4159273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720530" y="5673791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芯片结构</a:t>
              </a:r>
              <a:endPara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页脚占位符 10"/>
          <p:cNvSpPr>
            <a:spLocks noGrp="1"/>
          </p:cNvSpPr>
          <p:nvPr>
            <p:ph type="ftr" sz="quarter" idx="11"/>
          </p:nvPr>
        </p:nvSpPr>
        <p:spPr>
          <a:xfrm>
            <a:off x="622510" y="6486293"/>
            <a:ext cx="3159125" cy="365125"/>
          </a:xfrm>
        </p:spPr>
        <p:txBody>
          <a:bodyPr/>
          <a:lstStyle/>
          <a:p>
            <a:r>
              <a:rPr lang="en-US" altLang="zh-CN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D</a:t>
            </a:r>
            <a:r>
              <a:rPr lang="en-US" altLang="zh-CN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eloped at IN2P3 by OMEGA/LAL</a:t>
            </a:r>
            <a:endParaRPr lang="zh-CN" altLang="en-US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0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206621" cy="2923262"/>
          </a:xfrm>
        </p:spPr>
        <p:txBody>
          <a:bodyPr/>
          <a:lstStyle/>
          <a:p>
            <a:r>
              <a:rPr lang="zh-CN" altLang="en-US" dirty="0"/>
              <a:t>阳极读出板</a:t>
            </a:r>
            <a:r>
              <a:rPr lang="zh-CN" altLang="en-US" dirty="0" smtClean="0"/>
              <a:t>：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cm2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</a:t>
            </a:r>
            <a:r>
              <a:rPr lang="en-US" altLang="zh-CN" dirty="0" smtClean="0"/>
              <a:t>1cm2</a:t>
            </a:r>
          </a:p>
          <a:p>
            <a:r>
              <a:rPr lang="en-US" altLang="zh-CN" dirty="0" smtClean="0"/>
              <a:t>FEB</a:t>
            </a:r>
            <a:r>
              <a:rPr lang="zh-CN" altLang="en-US" dirty="0" smtClean="0"/>
              <a:t>板：集成多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，用菊花链的形式连接。</a:t>
            </a:r>
          </a:p>
          <a:p>
            <a:r>
              <a:rPr lang="en-US" altLang="zh-CN" dirty="0" smtClean="0"/>
              <a:t>DIF</a:t>
            </a:r>
            <a:r>
              <a:rPr lang="zh-CN" altLang="en-US" dirty="0"/>
              <a:t>板</a:t>
            </a:r>
            <a:r>
              <a:rPr lang="zh-CN" altLang="en-US" dirty="0" smtClean="0"/>
              <a:t>：控制、数据采集、刻度。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3" y="4510114"/>
            <a:ext cx="6987654" cy="1981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318880"/>
            <a:ext cx="3120939" cy="295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3339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5" name="图片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08" y="1211856"/>
            <a:ext cx="3132508" cy="24607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94007"/>
              </p:ext>
            </p:extLst>
          </p:nvPr>
        </p:nvGraphicFramePr>
        <p:xfrm>
          <a:off x="1222983" y="4098626"/>
          <a:ext cx="6588852" cy="1045772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44372"/>
                <a:gridCol w="2004866"/>
                <a:gridCol w="969529"/>
                <a:gridCol w="1246538"/>
                <a:gridCol w="1523547"/>
              </a:tblGrid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ref (V)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 smtClean="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2.1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2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6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~2.7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14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2.14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8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1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83~2.747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7" name="图片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716" y="1237132"/>
            <a:ext cx="3167818" cy="245775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740370"/>
              </p:ext>
            </p:extLst>
          </p:nvPr>
        </p:nvGraphicFramePr>
        <p:xfrm>
          <a:off x="1222981" y="5564280"/>
          <a:ext cx="6588854" cy="1005249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855296"/>
                <a:gridCol w="1983565"/>
                <a:gridCol w="972220"/>
                <a:gridCol w="1249999"/>
                <a:gridCol w="1527774"/>
              </a:tblGrid>
              <a:tr h="27372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DAC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solidFill>
                            <a:schemeClr val="tx1"/>
                          </a:solidFill>
                          <a:effectLst/>
                        </a:rPr>
                        <a:t>增益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(mV/DAC Unit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solidFill>
                            <a:schemeClr val="tx1"/>
                          </a:solidFill>
                          <a:effectLst/>
                        </a:rPr>
                        <a:t>Vref</a:t>
                      </a: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 (V)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非线性误差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线性范围（</a:t>
                      </a: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V</a:t>
                      </a:r>
                      <a:r>
                        <a:rPr lang="zh-CN" sz="1600" kern="100">
                          <a:solidFill>
                            <a:schemeClr val="tx1"/>
                          </a:solidFill>
                          <a:effectLst/>
                        </a:rPr>
                        <a:t>）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0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0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769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DAC2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1.41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>
                          <a:solidFill>
                            <a:schemeClr val="tx1"/>
                          </a:solidFill>
                          <a:effectLst/>
                        </a:rPr>
                        <a:t>0.93</a:t>
                      </a:r>
                      <a:endParaRPr lang="zh-CN" sz="160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000%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solidFill>
                            <a:schemeClr val="tx1"/>
                          </a:solidFill>
                          <a:effectLst/>
                        </a:rPr>
                        <a:t>0.93~2.373</a:t>
                      </a:r>
                      <a:endParaRPr lang="zh-CN" sz="160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817059" y="3704019"/>
            <a:ext cx="51475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μA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17059" y="5188957"/>
            <a:ext cx="51475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 3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DAC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的测试结果</a:t>
            </a:r>
            <a:r>
              <a:rPr lang="zh-CN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zh-CN" altLang="en-US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参考电流在</a:t>
            </a:r>
            <a:r>
              <a:rPr lang="en-US" altLang="zh-CN" kern="100" dirty="0" smtClean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μA</a:t>
            </a:r>
            <a:r>
              <a:rPr lang="zh-CN" altLang="zh-CN" kern="100" dirty="0"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条件下）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841715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7.8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064328" y="2920448"/>
            <a:ext cx="17636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3.9</a:t>
            </a:r>
            <a:r>
              <a:rPr lang="el-GR" altLang="zh-CN" sz="2400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μ</a:t>
            </a:r>
            <a:r>
              <a:rPr lang="en-US" altLang="zh-CN" sz="2400" kern="100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A(DAC0)</a:t>
            </a:r>
            <a:endParaRPr lang="zh-CN" altLang="en-US" sz="2400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445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830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芯片自刻度</a:t>
            </a:r>
            <a:endParaRPr lang="en-US" altLang="zh-CN" dirty="0" smtClean="0"/>
          </a:p>
          <a:p>
            <a:pPr lvl="1"/>
            <a:r>
              <a:rPr lang="zh-CN" altLang="en-US" dirty="0"/>
              <a:t>利用芯片比较器测量噪声</a:t>
            </a:r>
            <a:endParaRPr lang="en-US" altLang="zh-CN" dirty="0"/>
          </a:p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用信号发生器通过电容产生电荷</a:t>
            </a:r>
            <a:endParaRPr lang="en-US" altLang="zh-CN" dirty="0"/>
          </a:p>
          <a:p>
            <a:pPr lvl="2"/>
            <a:r>
              <a:rPr lang="zh-CN" altLang="en-US" dirty="0"/>
              <a:t>同时信号发生器产生一个的同频率的时钟信号</a:t>
            </a:r>
            <a:endParaRPr lang="en-US" altLang="zh-CN" dirty="0"/>
          </a:p>
          <a:p>
            <a:pPr lvl="2"/>
            <a:r>
              <a:rPr lang="zh-CN" altLang="en-US" dirty="0"/>
              <a:t>设定一个阈值</a:t>
            </a:r>
            <a:endParaRPr lang="en-US" altLang="zh-CN" dirty="0"/>
          </a:p>
          <a:p>
            <a:pPr lvl="2"/>
            <a:r>
              <a:rPr lang="en-US" altLang="zh-CN" dirty="0"/>
              <a:t>FPGA</a:t>
            </a:r>
            <a:r>
              <a:rPr lang="zh-CN" altLang="en-US" dirty="0"/>
              <a:t>同时计数比较器输出个数和时钟个数</a:t>
            </a:r>
            <a:endParaRPr lang="en-US" altLang="zh-CN" dirty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8842" y="4285925"/>
            <a:ext cx="4289077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0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6392" y="1106023"/>
            <a:ext cx="4881961" cy="5172234"/>
          </a:xfrm>
        </p:spPr>
        <p:txBody>
          <a:bodyPr/>
          <a:lstStyle/>
          <a:p>
            <a:pPr lvl="1"/>
            <a:r>
              <a:rPr lang="zh-CN" altLang="en-US" dirty="0"/>
              <a:t>原理</a:t>
            </a:r>
            <a:endParaRPr lang="en-US" altLang="zh-CN" dirty="0"/>
          </a:p>
          <a:p>
            <a:pPr lvl="2"/>
            <a:r>
              <a:rPr lang="zh-CN" altLang="en-US" dirty="0"/>
              <a:t>不断改变阈值，测量触发率</a:t>
            </a:r>
            <a:endParaRPr lang="en-US" altLang="zh-CN" dirty="0"/>
          </a:p>
          <a:p>
            <a:pPr lvl="2"/>
            <a:r>
              <a:rPr lang="zh-CN" altLang="en-US" dirty="0"/>
              <a:t>得到触发率和阈值关系曲线</a:t>
            </a:r>
            <a:r>
              <a:rPr lang="en-US" altLang="zh-CN" dirty="0"/>
              <a:t>	</a:t>
            </a:r>
          </a:p>
          <a:p>
            <a:pPr lvl="1"/>
            <a:r>
              <a:rPr lang="zh-CN" altLang="en-US" dirty="0"/>
              <a:t>物理含义</a:t>
            </a:r>
            <a:endParaRPr lang="en-US" altLang="zh-CN" dirty="0"/>
          </a:p>
          <a:p>
            <a:pPr lvl="2"/>
            <a:r>
              <a:rPr lang="zh-CN" altLang="en-US" dirty="0"/>
              <a:t>幅度分布概率密度累计曲线</a:t>
            </a:r>
            <a:endParaRPr lang="en-US" altLang="zh-CN" dirty="0"/>
          </a:p>
          <a:p>
            <a:pPr lvl="2"/>
            <a:r>
              <a:rPr lang="zh-CN" altLang="en-US" dirty="0"/>
              <a:t>相邻两个阈值做差得到噪声分布</a:t>
            </a:r>
            <a:endParaRPr lang="en-US" altLang="zh-CN" dirty="0"/>
          </a:p>
          <a:p>
            <a:pPr lvl="2"/>
            <a:r>
              <a:rPr lang="en-US" altLang="zh-CN" dirty="0"/>
              <a:t>S</a:t>
            </a:r>
            <a:r>
              <a:rPr lang="zh-CN" altLang="en-US" dirty="0"/>
              <a:t>曲线</a:t>
            </a:r>
            <a:r>
              <a:rPr lang="en-US" altLang="zh-CN" dirty="0"/>
              <a:t>50%</a:t>
            </a:r>
            <a:r>
              <a:rPr lang="zh-CN" altLang="en-US" dirty="0"/>
              <a:t>处对应的阈值即为该电荷量对应的阈值</a:t>
            </a:r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学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20704" y="6492875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19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5081977" y="609999"/>
            <a:ext cx="4040157" cy="3200133"/>
          </a:xfrm>
          <a:prstGeom prst="rect">
            <a:avLst/>
          </a:prstGeom>
        </p:spPr>
      </p:pic>
      <p:cxnSp>
        <p:nvCxnSpPr>
          <p:cNvPr id="6" name="直接连接符 5"/>
          <p:cNvCxnSpPr/>
          <p:nvPr/>
        </p:nvCxnSpPr>
        <p:spPr>
          <a:xfrm>
            <a:off x="5645072" y="3385314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645072" y="3313876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5645072" y="3242438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645072" y="3171000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645072" y="3104325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187" y="4019043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47" y="4128188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下箭头 12"/>
          <p:cNvSpPr/>
          <p:nvPr/>
        </p:nvSpPr>
        <p:spPr>
          <a:xfrm>
            <a:off x="6213624" y="3666303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 flipH="1">
            <a:off x="4655237" y="5037358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8036004" y="36921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阈值电压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 flipH="1" flipV="1">
            <a:off x="8012713" y="3385314"/>
            <a:ext cx="60838" cy="3643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425" y="1943774"/>
            <a:ext cx="1751158" cy="794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</a:t>
            </a:r>
            <a:r>
              <a:rPr lang="zh-CN" altLang="en-US" dirty="0" smtClean="0"/>
              <a:t>方案</a:t>
            </a:r>
            <a:endParaRPr lang="en-US" altLang="zh-CN" dirty="0" smtClean="0"/>
          </a:p>
          <a:p>
            <a:pPr lvl="1"/>
            <a:r>
              <a:rPr lang="zh-CN" altLang="en-US" dirty="0"/>
              <a:t>设计方案</a:t>
            </a:r>
            <a:endParaRPr lang="en-US" altLang="zh-CN" dirty="0" smtClean="0"/>
          </a:p>
          <a:p>
            <a:pPr lvl="1"/>
            <a:r>
              <a:rPr lang="zh-CN" altLang="en-US" dirty="0"/>
              <a:t>半</a:t>
            </a:r>
            <a:r>
              <a:rPr lang="zh-CN" altLang="en-US" dirty="0" smtClean="0"/>
              <a:t>数字化读出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/>
              <a:t>第</a:t>
            </a:r>
            <a:r>
              <a:rPr lang="zh-CN" altLang="en-US" dirty="0" smtClean="0"/>
              <a:t>一阶段设计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0.5m × 1mGEM</a:t>
            </a:r>
            <a:r>
              <a:rPr lang="zh-CN" altLang="en-US" dirty="0" smtClean="0"/>
              <a:t>探测器研制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45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r>
              <a:rPr lang="zh-CN" altLang="en-US" dirty="0" smtClean="0"/>
              <a:t>通道间增益差异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电子学</a:t>
            </a:r>
            <a:r>
              <a:rPr lang="zh-CN" altLang="en-US" dirty="0" smtClean="0"/>
              <a:t>测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756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64</a:t>
            </a:r>
            <a:r>
              <a:rPr lang="zh-CN" altLang="en-US" dirty="0"/>
              <a:t>通道一致性测试</a:t>
            </a:r>
            <a:endParaRPr lang="en-US" altLang="zh-CN" dirty="0"/>
          </a:p>
          <a:p>
            <a:pPr lvl="1"/>
            <a:r>
              <a:rPr lang="zh-CN" altLang="en-US" dirty="0"/>
              <a:t>通道</a:t>
            </a:r>
            <a:r>
              <a:rPr lang="zh-CN" altLang="en-US" dirty="0" smtClean="0"/>
              <a:t>不一致性是影响分辨率的主要因素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电子学</a:t>
            </a:r>
            <a:r>
              <a:rPr lang="zh-CN" altLang="en-US" dirty="0" smtClean="0"/>
              <a:t>测试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206062" y="2488366"/>
            <a:ext cx="8559498" cy="4153982"/>
            <a:chOff x="0" y="1695468"/>
            <a:chExt cx="8559498" cy="4153982"/>
          </a:xfrm>
        </p:grpSpPr>
        <p:pic>
          <p:nvPicPr>
            <p:cNvPr id="5" name="图片 4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12228"/>
              <a:ext cx="5186567" cy="37372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" name="矩形 5"/>
            <p:cNvSpPr/>
            <p:nvPr/>
          </p:nvSpPr>
          <p:spPr>
            <a:xfrm>
              <a:off x="311943" y="1695468"/>
              <a:ext cx="498127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修正后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~10fC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注入</a:t>
              </a:r>
              <a:r>
                <a:rPr lang="zh-CN" altLang="en-US" sz="2000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电荷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量下</a:t>
              </a:r>
              <a:r>
                <a:rPr lang="en-US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S</a:t>
              </a:r>
              <a:r>
                <a:rPr lang="zh-CN" altLang="zh-CN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曲线</a:t>
              </a:r>
              <a:r>
                <a:rPr lang="zh-CN" altLang="en-US" sz="2000" kern="100" dirty="0" smtClean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扫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7" name="直接箭头连接符 6"/>
            <p:cNvCxnSpPr/>
            <p:nvPr/>
          </p:nvCxnSpPr>
          <p:spPr bwMode="auto">
            <a:xfrm flipH="1">
              <a:off x="4010059" y="2112228"/>
              <a:ext cx="1904455" cy="45266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" name="直接箭头连接符 7"/>
            <p:cNvCxnSpPr/>
            <p:nvPr/>
          </p:nvCxnSpPr>
          <p:spPr bwMode="auto">
            <a:xfrm flipH="1" flipV="1">
              <a:off x="3884444" y="2735795"/>
              <a:ext cx="2199752" cy="11866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9" name="矩形 8"/>
            <p:cNvSpPr/>
            <p:nvPr/>
          </p:nvSpPr>
          <p:spPr>
            <a:xfrm>
              <a:off x="6156564" y="1876893"/>
              <a:ext cx="162021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0fC(</a:t>
              </a:r>
              <a:r>
                <a:rPr lang="zh-CN" altLang="en-US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基线</a:t>
              </a:r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)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72789" y="3355478"/>
              <a:ext cx="64808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H="1" flipV="1">
              <a:off x="3923916" y="3025368"/>
              <a:ext cx="2160280" cy="508855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6156564" y="2612061"/>
              <a:ext cx="131590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5069533" y="4797148"/>
              <a:ext cx="348996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可分辨最小电荷量为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2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3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通过</a:t>
            </a:r>
            <a:r>
              <a:rPr lang="en-US" altLang="zh-CN" dirty="0"/>
              <a:t>S</a:t>
            </a:r>
            <a:r>
              <a:rPr lang="zh-CN" altLang="en-US" dirty="0"/>
              <a:t>曲线测量噪声</a:t>
            </a:r>
            <a:endParaRPr lang="en-US" altLang="zh-CN" dirty="0"/>
          </a:p>
          <a:p>
            <a:pPr lvl="1"/>
            <a:r>
              <a:rPr lang="zh-CN" altLang="en-US" dirty="0"/>
              <a:t>不接探测器和接上探测器分别测量</a:t>
            </a:r>
            <a:r>
              <a:rPr lang="en-US" altLang="zh-CN" dirty="0"/>
              <a:t>0</a:t>
            </a:r>
            <a:r>
              <a:rPr lang="zh-CN" altLang="en-US" dirty="0"/>
              <a:t>输入</a:t>
            </a:r>
            <a:r>
              <a:rPr lang="en-US" altLang="zh-CN" dirty="0"/>
              <a:t>S</a:t>
            </a:r>
            <a:r>
              <a:rPr lang="zh-CN" altLang="en-US" dirty="0"/>
              <a:t>曲线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9" r="7098"/>
          <a:stretch/>
        </p:blipFill>
        <p:spPr>
          <a:xfrm>
            <a:off x="4135419" y="2857609"/>
            <a:ext cx="4231341" cy="36000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04571" y="4195944"/>
            <a:ext cx="2630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不接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25fC</a:t>
            </a:r>
          </a:p>
          <a:p>
            <a:r>
              <a:rPr lang="zh-CN" altLang="en-US" b="1" dirty="0">
                <a:latin typeface="黑体" panose="02010609060101010101" pitchFamily="49" charset="-122"/>
                <a:ea typeface="黑体" panose="02010609060101010101" pitchFamily="49" charset="-122"/>
              </a:rPr>
              <a:t>接上探测器噪声</a:t>
            </a:r>
            <a:r>
              <a:rPr lang="en-US" altLang="zh-CN" b="1" dirty="0">
                <a:latin typeface="黑体" panose="02010609060101010101" pitchFamily="49" charset="-122"/>
                <a:ea typeface="黑体" panose="02010609060101010101" pitchFamily="49" charset="-122"/>
              </a:rPr>
              <a:t>~0.35fC</a:t>
            </a:r>
            <a:endParaRPr lang="zh-CN" altLang="en-US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69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调试功能测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5614718" y="1762332"/>
            <a:ext cx="2709266" cy="2031950"/>
            <a:chOff x="0" y="3258000"/>
            <a:chExt cx="4799999" cy="360000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258000"/>
              <a:ext cx="4799999" cy="3600000"/>
            </a:xfrm>
            <a:prstGeom prst="rect">
              <a:avLst/>
            </a:prstGeom>
          </p:spPr>
        </p:pic>
        <p:cxnSp>
          <p:nvCxnSpPr>
            <p:cNvPr id="6" name="直接箭头连接符 5"/>
            <p:cNvCxnSpPr/>
            <p:nvPr/>
          </p:nvCxnSpPr>
          <p:spPr>
            <a:xfrm flipV="1">
              <a:off x="1307592" y="4983480"/>
              <a:ext cx="100584" cy="365760"/>
            </a:xfrm>
            <a:prstGeom prst="straightConnector1">
              <a:avLst/>
            </a:prstGeom>
            <a:ln>
              <a:solidFill>
                <a:srgbClr val="00D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/>
            <p:cNvSpPr txBox="1"/>
            <p:nvPr/>
          </p:nvSpPr>
          <p:spPr>
            <a:xfrm>
              <a:off x="764013" y="5289696"/>
              <a:ext cx="1189709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00DF00"/>
                  </a:solidFill>
                </a:rPr>
                <a:t>Hold</a:t>
              </a:r>
              <a:r>
                <a:rPr lang="zh-CN" altLang="en-US" sz="1200" dirty="0">
                  <a:solidFill>
                    <a:srgbClr val="00DF00"/>
                  </a:solidFill>
                </a:rPr>
                <a:t>信号</a:t>
              </a:r>
            </a:p>
          </p:txBody>
        </p:sp>
        <p:cxnSp>
          <p:nvCxnSpPr>
            <p:cNvPr id="8" name="直接箭头连接符 7"/>
            <p:cNvCxnSpPr/>
            <p:nvPr/>
          </p:nvCxnSpPr>
          <p:spPr>
            <a:xfrm flipV="1">
              <a:off x="3291840" y="4837176"/>
              <a:ext cx="9144" cy="586628"/>
            </a:xfrm>
            <a:prstGeom prst="straightConnector1">
              <a:avLst/>
            </a:prstGeom>
            <a:ln>
              <a:solidFill>
                <a:srgbClr val="00E8E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/>
            <p:cNvSpPr txBox="1"/>
            <p:nvPr/>
          </p:nvSpPr>
          <p:spPr>
            <a:xfrm>
              <a:off x="2861771" y="5364259"/>
              <a:ext cx="11802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srgbClr val="00E8E8"/>
                  </a:solidFill>
                </a:rPr>
                <a:t>峰保输出</a:t>
              </a:r>
            </a:p>
          </p:txBody>
        </p:sp>
        <p:cxnSp>
          <p:nvCxnSpPr>
            <p:cNvPr id="10" name="直接箭头连接符 9"/>
            <p:cNvCxnSpPr/>
            <p:nvPr/>
          </p:nvCxnSpPr>
          <p:spPr>
            <a:xfrm>
              <a:off x="2400000" y="3730752"/>
              <a:ext cx="382006" cy="265176"/>
            </a:xfrm>
            <a:prstGeom prst="straightConnector1">
              <a:avLst/>
            </a:prstGeom>
            <a:ln>
              <a:solidFill>
                <a:srgbClr val="F5F4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946713" y="3420964"/>
              <a:ext cx="2537352" cy="4085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 dirty="0">
                  <a:solidFill>
                    <a:srgbClr val="F5F400"/>
                  </a:solidFill>
                </a:rPr>
                <a:t>Low Gain Shaper </a:t>
              </a:r>
              <a:r>
                <a:rPr lang="zh-CN" altLang="en-US" sz="1200" dirty="0">
                  <a:solidFill>
                    <a:srgbClr val="F5F400"/>
                  </a:solidFill>
                </a:rPr>
                <a:t>输出</a:t>
              </a:r>
            </a:p>
          </p:txBody>
        </p:sp>
      </p:grpSp>
      <p:sp>
        <p:nvSpPr>
          <p:cNvPr id="12" name="矩形 11"/>
          <p:cNvSpPr/>
          <p:nvPr/>
        </p:nvSpPr>
        <p:spPr>
          <a:xfrm>
            <a:off x="4552074" y="1437647"/>
            <a:ext cx="4554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对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Microro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峰保输出进行测量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29366" y="3465785"/>
            <a:ext cx="41422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利用片外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ADC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采</a:t>
            </a:r>
            <a:r>
              <a:rPr lang="en-US" altLang="zh-CN" sz="1200" dirty="0">
                <a:latin typeface="黑体" panose="02010609060101010101" pitchFamily="49" charset="-122"/>
                <a:ea typeface="黑体" panose="02010609060101010101" pitchFamily="49" charset="-122"/>
              </a:rPr>
              <a:t>8keV X</a:t>
            </a:r>
            <a:r>
              <a:rPr lang="zh-CN" altLang="en-US" sz="1200" dirty="0">
                <a:latin typeface="黑体" panose="02010609060101010101" pitchFamily="49" charset="-122"/>
                <a:ea typeface="黑体" panose="02010609060101010101" pitchFamily="49" charset="-122"/>
              </a:rPr>
              <a:t>射线能谱</a:t>
            </a:r>
            <a:endParaRPr lang="en-US" altLang="zh-CN" sz="1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41808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EM 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3714818" y="2763954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IF</a:t>
            </a:r>
            <a:r>
              <a:rPr lang="en-US" altLang="zh-CN" dirty="0" smtClean="0">
                <a:solidFill>
                  <a:schemeClr val="tx1"/>
                </a:solidFill>
              </a:rPr>
              <a:t> </a:t>
            </a:r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1945556" y="2756668"/>
            <a:ext cx="1452421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MICROROC Test Board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7" name="直接箭头连接符 16"/>
          <p:cNvCxnSpPr>
            <a:stCxn id="14" idx="3"/>
            <a:endCxn id="16" idx="1"/>
          </p:cNvCxnSpPr>
          <p:nvPr/>
        </p:nvCxnSpPr>
        <p:spPr>
          <a:xfrm flipV="1">
            <a:off x="1436400" y="2990625"/>
            <a:ext cx="509156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6" idx="3"/>
            <a:endCxn id="15" idx="1"/>
          </p:cNvCxnSpPr>
          <p:nvPr/>
        </p:nvCxnSpPr>
        <p:spPr>
          <a:xfrm>
            <a:off x="3397977" y="2990625"/>
            <a:ext cx="316841" cy="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圆角矩形 18"/>
          <p:cNvSpPr/>
          <p:nvPr/>
        </p:nvSpPr>
        <p:spPr>
          <a:xfrm>
            <a:off x="3693582" y="1853922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C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890266" y="2362886"/>
            <a:ext cx="0" cy="4190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20"/>
          <p:cNvSpPr/>
          <p:nvPr/>
        </p:nvSpPr>
        <p:spPr>
          <a:xfrm>
            <a:off x="381110" y="1919810"/>
            <a:ext cx="1018312" cy="4679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kern="1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X Ray</a:t>
            </a:r>
            <a:endParaRPr lang="zh-CN" altLang="en-US" kern="1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22" name="直接箭头连接符 21"/>
          <p:cNvCxnSpPr/>
          <p:nvPr/>
        </p:nvCxnSpPr>
        <p:spPr>
          <a:xfrm flipH="1" flipV="1">
            <a:off x="4251727" y="2321835"/>
            <a:ext cx="7948" cy="5395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25" y="3742784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1317826" y="4225600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813324" y="1894439"/>
            <a:ext cx="1400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测试流程图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583" y="3794282"/>
            <a:ext cx="4077395" cy="2759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均匀性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066" y="1548969"/>
            <a:ext cx="2358909" cy="176683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377" y="1585714"/>
            <a:ext cx="2355778" cy="1766833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96784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05095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323524" y="2770041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120108" y="2240980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015745" y="2471950"/>
            <a:ext cx="127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002921" y="2748364"/>
            <a:ext cx="19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endParaRPr lang="zh-CN" altLang="en-US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下弧形箭头 11"/>
          <p:cNvSpPr/>
          <p:nvPr/>
        </p:nvSpPr>
        <p:spPr>
          <a:xfrm rot="16200000">
            <a:off x="1159560" y="2091266"/>
            <a:ext cx="1010889" cy="62225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文本框 25"/>
          <p:cNvSpPr txBox="1">
            <a:spLocks noChangeArrowheads="1"/>
          </p:cNvSpPr>
          <p:nvPr/>
        </p:nvSpPr>
        <p:spPr bwMode="auto">
          <a:xfrm>
            <a:off x="3446121" y="2169954"/>
            <a:ext cx="25424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Pad</a:t>
            </a:r>
            <a:r>
              <a:rPr lang="zh-CN" altLang="en-US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大小：</a:t>
            </a:r>
            <a:r>
              <a:rPr lang="en-US" altLang="zh-CN" b="1" dirty="0" smtClean="0">
                <a:solidFill>
                  <a:srgbClr val="FFFF00"/>
                </a:solidFill>
                <a:latin typeface="楷体" pitchFamily="49" charset="-122"/>
                <a:ea typeface="楷体" pitchFamily="49" charset="-122"/>
              </a:rPr>
              <a:t>1cmx1cm</a:t>
            </a:r>
            <a:endParaRPr lang="en-US" altLang="zh-CN" b="1" dirty="0">
              <a:solidFill>
                <a:srgbClr val="FFFF00"/>
              </a:solidFill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9643" y="1484171"/>
            <a:ext cx="2523018" cy="1871195"/>
          </a:xfrm>
          <a:prstGeom prst="rect">
            <a:avLst/>
          </a:prstGeom>
          <a:effectLst>
            <a:outerShdw dist="50800" sx="78000" sy="78000" algn="ctr" rotWithShape="0">
              <a:srgbClr val="000000">
                <a:alpha val="0"/>
              </a:srgbClr>
            </a:outerShdw>
          </a:effectLst>
        </p:spPr>
      </p:pic>
      <p:sp>
        <p:nvSpPr>
          <p:cNvPr id="15" name="文本框 14"/>
          <p:cNvSpPr txBox="1"/>
          <p:nvPr/>
        </p:nvSpPr>
        <p:spPr>
          <a:xfrm>
            <a:off x="6725115" y="2401802"/>
            <a:ext cx="1607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 Ray</a:t>
            </a:r>
            <a:endParaRPr lang="zh-CN" altLang="en-US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2873" y="4062354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433066" y="3665981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557" y="3701072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309701" y="4495772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3212377" y="4203437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446121" y="3637104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图</a:t>
            </a:r>
          </a:p>
        </p:txBody>
      </p:sp>
    </p:spTree>
    <p:extLst>
      <p:ext uri="{BB962C8B-B14F-4D97-AF65-F5344CB8AC3E}">
        <p14:creationId xmlns:p14="http://schemas.microsoft.com/office/powerpoint/2010/main" val="391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利用宇宙线测量效率和串扰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串扰和效率测量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75" y="1544795"/>
            <a:ext cx="3573624" cy="1491987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922862" y="2462969"/>
            <a:ext cx="8402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>
                <a:solidFill>
                  <a:srgbClr val="FF0000"/>
                </a:solidFill>
              </a:rPr>
              <a:t>PMT1</a:t>
            </a:r>
            <a:endParaRPr lang="zh-CN" altLang="en-US" sz="1000" b="1" dirty="0">
              <a:solidFill>
                <a:srgbClr val="FF0000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7582922" y="1706340"/>
            <a:ext cx="8828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00FF"/>
                </a:solidFill>
              </a:rPr>
              <a:t>PMT2</a:t>
            </a:r>
            <a:endParaRPr lang="zh-CN" altLang="en-US" sz="1000" b="1" dirty="0">
              <a:solidFill>
                <a:srgbClr val="0000FF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8024368" y="2290788"/>
            <a:ext cx="83093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b="1" dirty="0">
                <a:solidFill>
                  <a:srgbClr val="92D050"/>
                </a:solidFill>
              </a:rPr>
              <a:t>符合信号</a:t>
            </a:r>
          </a:p>
        </p:txBody>
      </p:sp>
      <p:sp>
        <p:nvSpPr>
          <p:cNvPr id="8" name="矩形 7"/>
          <p:cNvSpPr/>
          <p:nvPr/>
        </p:nvSpPr>
        <p:spPr>
          <a:xfrm>
            <a:off x="6104377" y="1610962"/>
            <a:ext cx="13962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rgbClr val="FFC000"/>
                </a:solidFill>
              </a:rPr>
              <a:t>GEM</a:t>
            </a:r>
            <a:r>
              <a:rPr lang="zh-CN" altLang="en-US" sz="1200" b="1" dirty="0" smtClean="0">
                <a:solidFill>
                  <a:srgbClr val="FFC000"/>
                </a:solidFill>
              </a:rPr>
              <a:t>探测器信号</a:t>
            </a:r>
            <a:endParaRPr lang="zh-CN" altLang="en-US" sz="1200" b="1" dirty="0">
              <a:solidFill>
                <a:srgbClr val="FFC000"/>
              </a:solidFill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 flipH="1">
            <a:off x="7554166" y="1884504"/>
            <a:ext cx="136763" cy="165408"/>
          </a:xfrm>
          <a:prstGeom prst="straightConnector1">
            <a:avLst/>
          </a:prstGeom>
          <a:ln w="254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flipH="1" flipV="1">
            <a:off x="6856603" y="2345254"/>
            <a:ext cx="97217" cy="20908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6677004" y="1829451"/>
            <a:ext cx="125512" cy="220461"/>
          </a:xfrm>
          <a:prstGeom prst="straightConnector1">
            <a:avLst/>
          </a:prstGeom>
          <a:ln w="254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219536" y="2939156"/>
            <a:ext cx="6306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zh-CN" altLang="en-US" sz="1200" dirty="0"/>
              <a:t>通过读回数据包和总触发数测量探测</a:t>
            </a:r>
            <a:r>
              <a:rPr lang="zh-CN" altLang="en-US" sz="1200" dirty="0" smtClean="0"/>
              <a:t>效率（阈值</a:t>
            </a:r>
            <a:r>
              <a:rPr lang="zh-CN" altLang="en-US" sz="1200" dirty="0"/>
              <a:t>：</a:t>
            </a:r>
            <a:r>
              <a:rPr lang="en-US" altLang="zh-CN" sz="1200" dirty="0" smtClean="0"/>
              <a:t>6fc</a:t>
            </a:r>
            <a:r>
              <a:rPr lang="zh-CN" altLang="en-US" sz="1200" dirty="0" smtClean="0"/>
              <a:t>）</a:t>
            </a:r>
            <a:endParaRPr lang="en-US" altLang="zh-CN" sz="1200" dirty="0"/>
          </a:p>
          <a:p>
            <a:pPr marL="0" lvl="1"/>
            <a:r>
              <a:rPr lang="zh-CN" altLang="en-US" sz="1200" dirty="0" smtClean="0"/>
              <a:t>效率：</a:t>
            </a:r>
            <a:r>
              <a:rPr lang="en-US" altLang="zh-CN" sz="1200" dirty="0"/>
              <a:t>10981/13000</a:t>
            </a:r>
            <a:r>
              <a:rPr lang="zh-CN" altLang="en-US" sz="1200" dirty="0"/>
              <a:t>～</a:t>
            </a:r>
            <a:r>
              <a:rPr lang="en-US" altLang="zh-CN" sz="1200" dirty="0"/>
              <a:t>84.5%</a:t>
            </a:r>
          </a:p>
          <a:p>
            <a:endParaRPr lang="en-US" altLang="zh-CN" sz="1200" dirty="0" smtClean="0"/>
          </a:p>
          <a:p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481" y="1531803"/>
            <a:ext cx="4867562" cy="1237734"/>
          </a:xfrm>
          <a:prstGeom prst="rect">
            <a:avLst/>
          </a:prstGeom>
        </p:spPr>
      </p:pic>
      <p:graphicFrame>
        <p:nvGraphicFramePr>
          <p:cNvPr id="14" name="Group 54"/>
          <p:cNvGraphicFramePr>
            <a:graphicFrameLocks/>
          </p:cNvGraphicFramePr>
          <p:nvPr>
            <p:extLst/>
          </p:nvPr>
        </p:nvGraphicFramePr>
        <p:xfrm>
          <a:off x="526394" y="4156297"/>
          <a:ext cx="4889294" cy="2096822"/>
        </p:xfrm>
        <a:graphic>
          <a:graphicData uri="http://schemas.openxmlformats.org/drawingml/2006/table">
            <a:tbl>
              <a:tblPr/>
              <a:tblGrid>
                <a:gridCol w="2082842"/>
                <a:gridCol w="1058866"/>
                <a:gridCol w="904133"/>
                <a:gridCol w="843453"/>
              </a:tblGrid>
              <a:tr h="3520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非击中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pad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信号分析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60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一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二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过第三个阈 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fc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一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6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864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二个阈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 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68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9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3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0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  <a:tr h="3425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仅过第三个阈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50  fc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448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21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FF7"/>
                    </a:solidFill>
                  </a:tcPr>
                </a:tc>
              </a:tr>
              <a:tr h="326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总计数：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10000</a:t>
                      </a: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 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（</a:t>
                      </a:r>
                      <a:r>
                        <a:rPr kumimoji="0" lang="en-US" altLang="zh-CN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evts</a:t>
                      </a: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）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宋体" charset="-122"/>
                        <a:cs typeface="Times New Roman" pitchFamily="18" charset="0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93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6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宋体" charset="-122"/>
                        </a:rPr>
                        <a:t>5</a:t>
                      </a:r>
                      <a:endParaRPr kumimoji="0" lang="zh-CN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宋体" charset="-122"/>
                      </a:endParaRPr>
                    </a:p>
                  </a:txBody>
                  <a:tcPr marL="40659" marR="4065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EEF"/>
                    </a:solidFill>
                  </a:tcPr>
                </a:tc>
              </a:tr>
            </a:tbl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794301" y="6324524"/>
            <a:ext cx="5027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当事例击中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后，对相邻</a:t>
            </a:r>
            <a:r>
              <a:rPr lang="en-US" altLang="zh-CN" sz="1200" dirty="0" smtClean="0"/>
              <a:t>pad</a:t>
            </a:r>
            <a:r>
              <a:rPr lang="zh-CN" altLang="en-US" sz="1200" dirty="0" smtClean="0"/>
              <a:t>有影响的事例数所占比例为</a:t>
            </a:r>
            <a:r>
              <a:rPr lang="en-US" altLang="zh-CN" sz="1200" dirty="0" smtClean="0"/>
              <a:t>1.54%</a:t>
            </a:r>
            <a:endParaRPr lang="zh-CN" altLang="en-US" sz="1200" dirty="0"/>
          </a:p>
        </p:txBody>
      </p:sp>
      <p:sp>
        <p:nvSpPr>
          <p:cNvPr id="16" name="文本框 15"/>
          <p:cNvSpPr txBox="1"/>
          <p:nvPr/>
        </p:nvSpPr>
        <p:spPr>
          <a:xfrm>
            <a:off x="275481" y="3756437"/>
            <a:ext cx="9021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设置</a:t>
            </a:r>
            <a:r>
              <a:rPr lang="en-US" altLang="zh-CN" sz="1400" dirty="0" smtClean="0"/>
              <a:t>3</a:t>
            </a:r>
            <a:r>
              <a:rPr lang="zh-CN" altLang="en-US" sz="1400" dirty="0" smtClean="0"/>
              <a:t>个阈，</a:t>
            </a:r>
            <a:r>
              <a:rPr lang="en-US" altLang="zh-CN" sz="1400" dirty="0" smtClean="0"/>
              <a:t>6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20fc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150fc</a:t>
            </a:r>
            <a:r>
              <a:rPr lang="zh-CN" altLang="en-US" sz="1400" dirty="0" smtClean="0"/>
              <a:t>。当且仅当过其中一个阈值时，分别统计击中</a:t>
            </a:r>
            <a:r>
              <a:rPr lang="en-US" altLang="zh-CN" sz="1400" dirty="0" smtClean="0"/>
              <a:t>pad</a:t>
            </a:r>
            <a:r>
              <a:rPr lang="zh-CN" altLang="en-US" sz="1400" dirty="0" smtClean="0"/>
              <a:t>信号过阈时对相邻信号的影响</a:t>
            </a:r>
            <a:r>
              <a:rPr lang="en-US" altLang="zh-CN" sz="1400" dirty="0" smtClean="0"/>
              <a:t>.</a:t>
            </a:r>
            <a:endParaRPr lang="zh-CN" altLang="en-US" sz="1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768" y="4209571"/>
            <a:ext cx="2618065" cy="2012463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159708" y="2584871"/>
            <a:ext cx="2743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效率测试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88552" y="3409352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串扰测试</a:t>
            </a:r>
          </a:p>
        </p:txBody>
      </p:sp>
    </p:spTree>
    <p:extLst>
      <p:ext uri="{BB962C8B-B14F-4D97-AF65-F5344CB8AC3E}">
        <p14:creationId xmlns:p14="http://schemas.microsoft.com/office/powerpoint/2010/main" val="428273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860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50cm*100cm</a:t>
            </a:r>
            <a:r>
              <a:rPr lang="zh-CN" altLang="en-US" dirty="0" smtClean="0"/>
              <a:t>探测器设计</a:t>
            </a:r>
            <a:endParaRPr lang="zh-CN" altLang="en-US" dirty="0"/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233120" y="1396004"/>
            <a:ext cx="44262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单层</a:t>
            </a:r>
            <a:r>
              <a:rPr lang="en-US" altLang="zh-CN" sz="1600" b="1" dirty="0">
                <a:solidFill>
                  <a:srgbClr val="00B050"/>
                </a:solidFill>
                <a:latin typeface="+mn-ea"/>
                <a:ea typeface="+mn-ea"/>
              </a:rPr>
              <a:t>GEM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膜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在张力、重力及电场力下</a:t>
            </a:r>
            <a:r>
              <a:rPr lang="zh-CN" altLang="en-US" sz="1600" b="1" dirty="0">
                <a:solidFill>
                  <a:srgbClr val="00B050"/>
                </a:solidFill>
                <a:latin typeface="+mn-ea"/>
                <a:ea typeface="+mn-ea"/>
              </a:rPr>
              <a:t>垂直</a:t>
            </a:r>
            <a:r>
              <a:rPr lang="zh-CN" altLang="en-US" sz="1600" b="1" dirty="0" smtClean="0">
                <a:solidFill>
                  <a:srgbClr val="00B050"/>
                </a:solidFill>
                <a:latin typeface="+mn-ea"/>
                <a:ea typeface="+mn-ea"/>
              </a:rPr>
              <a:t>形变图</a:t>
            </a:r>
            <a:endParaRPr lang="zh-CN" altLang="en-US" sz="1600" b="1" dirty="0">
              <a:solidFill>
                <a:srgbClr val="00B050"/>
              </a:solidFill>
              <a:latin typeface="+mn-ea"/>
              <a:ea typeface="+mn-ea"/>
            </a:endParaRPr>
          </a:p>
        </p:txBody>
      </p:sp>
      <p:pic>
        <p:nvPicPr>
          <p:cNvPr id="5" name="内容占位符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81653"/>
            <a:ext cx="4038600" cy="19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内容占位符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27" y="1647826"/>
            <a:ext cx="2893933" cy="191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5"/>
          <p:cNvSpPr txBox="1">
            <a:spLocks noChangeArrowheads="1"/>
          </p:cNvSpPr>
          <p:nvPr/>
        </p:nvSpPr>
        <p:spPr bwMode="auto">
          <a:xfrm>
            <a:off x="6934106" y="3462155"/>
            <a:ext cx="121920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dirty="0"/>
              <a:t>tension(N/m)</a:t>
            </a:r>
            <a:endParaRPr lang="zh-CN" altLang="en-US" sz="1400" dirty="0"/>
          </a:p>
        </p:txBody>
      </p:sp>
      <p:sp>
        <p:nvSpPr>
          <p:cNvPr id="8" name="文本框 19"/>
          <p:cNvSpPr txBox="1">
            <a:spLocks noChangeArrowheads="1"/>
          </p:cNvSpPr>
          <p:nvPr/>
        </p:nvSpPr>
        <p:spPr bwMode="auto">
          <a:xfrm rot="-5400000">
            <a:off x="4791309" y="1913732"/>
            <a:ext cx="839787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/>
              <a:t>sag(um)</a:t>
            </a:r>
            <a:endParaRPr lang="zh-CN" altLang="en-US" sz="1400"/>
          </a:p>
        </p:txBody>
      </p:sp>
      <p:sp>
        <p:nvSpPr>
          <p:cNvPr id="9" name="文本框 8"/>
          <p:cNvSpPr txBox="1"/>
          <p:nvPr/>
        </p:nvSpPr>
        <p:spPr>
          <a:xfrm>
            <a:off x="5645314" y="139600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B050"/>
                </a:solidFill>
              </a:rPr>
              <a:t>最大形变随张力变化</a:t>
            </a:r>
            <a:endParaRPr lang="zh-CN" altLang="en-US" sz="1600" b="1" dirty="0">
              <a:solidFill>
                <a:srgbClr val="00B05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700" y="3757777"/>
            <a:ext cx="6565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最大垂直形变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100u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相对于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m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间距可接受。</a:t>
            </a:r>
            <a:endParaRPr lang="en-US" altLang="zh-CN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内容占位符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4175659"/>
            <a:ext cx="347345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内容占位符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86" y="4175659"/>
            <a:ext cx="3213100" cy="210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文本框 6"/>
          <p:cNvSpPr txBox="1">
            <a:spLocks noChangeArrowheads="1"/>
          </p:cNvSpPr>
          <p:nvPr/>
        </p:nvSpPr>
        <p:spPr bwMode="auto">
          <a:xfrm>
            <a:off x="1531938" y="5131334"/>
            <a:ext cx="1736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>
                <a:solidFill>
                  <a:srgbClr val="0000FF"/>
                </a:solidFill>
              </a:rPr>
              <a:t>Tension sensor</a:t>
            </a:r>
            <a:endParaRPr lang="zh-CN" altLang="en-US">
              <a:solidFill>
                <a:srgbClr val="0000FF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 flipH="1" flipV="1">
            <a:off x="2443163" y="4786847"/>
            <a:ext cx="73025" cy="433387"/>
          </a:xfrm>
          <a:prstGeom prst="straightConnector1">
            <a:avLst/>
          </a:prstGeom>
          <a:ln>
            <a:solidFill>
              <a:srgbClr val="FFFF6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1308100" y="4786847"/>
            <a:ext cx="1047750" cy="44132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1981268" y="6341309"/>
            <a:ext cx="4009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张力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0N/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时，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</a:t>
            </a:r>
            <a:r>
              <a:rPr lang="zh-CN" alt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膜拉伸量</a:t>
            </a:r>
            <a:r>
              <a:rPr lang="en-US" altLang="zh-CN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2.5mm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33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集成到探测器读出板背后</a:t>
            </a:r>
            <a:endParaRPr lang="en-US" altLang="zh-CN" dirty="0" smtClean="0"/>
          </a:p>
          <a:p>
            <a:pPr lvl="1"/>
            <a:r>
              <a:rPr lang="zh-CN" altLang="en-US" dirty="0"/>
              <a:t>盲埋</a:t>
            </a:r>
            <a:r>
              <a:rPr lang="zh-CN" altLang="en-US" dirty="0" smtClean="0"/>
              <a:t>孔工艺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对读出板进行控制</a:t>
            </a:r>
            <a:endParaRPr lang="en-US" altLang="zh-CN" dirty="0"/>
          </a:p>
          <a:p>
            <a:pPr lvl="1"/>
            <a:r>
              <a:rPr lang="zh-CN" altLang="en-US" dirty="0" smtClean="0"/>
              <a:t>多层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由一个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进行打包汇总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64016" y="3099859"/>
            <a:ext cx="5084309" cy="2913556"/>
            <a:chOff x="564016" y="3099859"/>
            <a:chExt cx="5084309" cy="2913556"/>
          </a:xfrm>
        </p:grpSpPr>
        <p:sp>
          <p:nvSpPr>
            <p:cNvPr id="5" name="矩形 4"/>
            <p:cNvSpPr/>
            <p:nvPr/>
          </p:nvSpPr>
          <p:spPr>
            <a:xfrm>
              <a:off x="3090991" y="4440626"/>
              <a:ext cx="619387" cy="24833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4016" y="3364502"/>
              <a:ext cx="2557334" cy="2648913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6289" y="3548518"/>
              <a:ext cx="1982036" cy="2032547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1238692" y="3099859"/>
              <a:ext cx="603991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FEB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369990" y="3283875"/>
              <a:ext cx="574634" cy="3197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DIF</a:t>
              </a:r>
              <a:r>
                <a:rPr lang="zh-CN" altLang="en-US" dirty="0" smtClean="0"/>
                <a:t>板</a:t>
              </a:r>
              <a:endParaRPr lang="zh-CN" altLang="en-US" dirty="0"/>
            </a:p>
          </p:txBody>
        </p:sp>
      </p:grpSp>
      <p:grpSp>
        <p:nvGrpSpPr>
          <p:cNvPr id="760" name="组合 759"/>
          <p:cNvGrpSpPr/>
          <p:nvPr/>
        </p:nvGrpSpPr>
        <p:grpSpPr>
          <a:xfrm>
            <a:off x="589416" y="3364502"/>
            <a:ext cx="7063018" cy="3022603"/>
            <a:chOff x="751292" y="1690850"/>
            <a:chExt cx="7063018" cy="3022603"/>
          </a:xfrm>
        </p:grpSpPr>
        <p:grpSp>
          <p:nvGrpSpPr>
            <p:cNvPr id="761" name="组合 760"/>
            <p:cNvGrpSpPr/>
            <p:nvPr/>
          </p:nvGrpSpPr>
          <p:grpSpPr>
            <a:xfrm>
              <a:off x="751292" y="1690850"/>
              <a:ext cx="5470903" cy="3022603"/>
              <a:chOff x="3088092" y="3697450"/>
              <a:chExt cx="5470903" cy="3022603"/>
            </a:xfrm>
          </p:grpSpPr>
          <p:grpSp>
            <p:nvGrpSpPr>
              <p:cNvPr id="764" name="组合 763"/>
              <p:cNvGrpSpPr/>
              <p:nvPr/>
            </p:nvGrpSpPr>
            <p:grpSpPr>
              <a:xfrm>
                <a:off x="3492501" y="4024477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509" name="组合 1508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630" name="矩形 1629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631" name="图片 1630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510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511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2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3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4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5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16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7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8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9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0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1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2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3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4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5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6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7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28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9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0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1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2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3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4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5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6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7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8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9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0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1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2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3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4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5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6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7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8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49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0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1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2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3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4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5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6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7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58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9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0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1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2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3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4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5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6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67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8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9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0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1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2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3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4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5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6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7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8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9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0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1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2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3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4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5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6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7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8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89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0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1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2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3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4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5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6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7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98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99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0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1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2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3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4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5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6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07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8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09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0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1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2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3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14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5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6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7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8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19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0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1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2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3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4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5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6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7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8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629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5" name="组合 764"/>
              <p:cNvGrpSpPr/>
              <p:nvPr/>
            </p:nvGrpSpPr>
            <p:grpSpPr>
              <a:xfrm>
                <a:off x="3424239" y="3962564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386" name="组合 1385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507" name="矩形 1506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508" name="图片 1507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387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388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9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0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1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2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3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4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5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6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7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8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99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0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1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2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3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4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5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6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7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08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9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0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1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2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3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4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5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6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17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8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9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2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3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4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5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6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7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8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29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0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1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2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3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4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5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6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7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38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9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0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1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2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3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44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5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6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7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8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9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0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1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2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3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4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5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6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7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8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9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0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1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2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3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4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5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6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7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68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9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0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1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2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3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4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5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6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7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8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9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0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1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2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3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4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5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6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7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8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89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0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91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2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3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4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5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6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7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8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9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0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1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2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3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4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5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6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6" name="组合 765"/>
              <p:cNvGrpSpPr/>
              <p:nvPr/>
            </p:nvGrpSpPr>
            <p:grpSpPr>
              <a:xfrm>
                <a:off x="3354792" y="3900651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263" name="组合 1262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384" name="矩形 1383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385" name="图片 1384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264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265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6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7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8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69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0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1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2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3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4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5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6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7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8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79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0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1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2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3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4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5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6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7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8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9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0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1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2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3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4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5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6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97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8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9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0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1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2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3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4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5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6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7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8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09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0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1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2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3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4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5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6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7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18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9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0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21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2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3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4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5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6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7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8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9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0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1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2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3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4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5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6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7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8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9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0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1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2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3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4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45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6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7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8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9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0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1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2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3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4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5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6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7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8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59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0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1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2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3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4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5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6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7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368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9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0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1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2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3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4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5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6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7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8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9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0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1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2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3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7" name="组合 766"/>
              <p:cNvGrpSpPr/>
              <p:nvPr/>
            </p:nvGrpSpPr>
            <p:grpSpPr>
              <a:xfrm>
                <a:off x="3280179" y="383873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140" name="组合 1139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261" name="矩形 1260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262" name="图片 1261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141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142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3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4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5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6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47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8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9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0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1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2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3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4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5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6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7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8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59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0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1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2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3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4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5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6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7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68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69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0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1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2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3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4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5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6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77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8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79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0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1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2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3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4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5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6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7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88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89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0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1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2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3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4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5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6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7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98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99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0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1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2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3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4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5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6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7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8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09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0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1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2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3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4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5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6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17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8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19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0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1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2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3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4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5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6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7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28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9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0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1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2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3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4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5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6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7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38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39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0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1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2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3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4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45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6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7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8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49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0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1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2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3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4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5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6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7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8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9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0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8" name="组合 767"/>
              <p:cNvGrpSpPr/>
              <p:nvPr/>
            </p:nvGrpSpPr>
            <p:grpSpPr>
              <a:xfrm>
                <a:off x="3215093" y="3794288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1017" name="组合 1016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138" name="矩形 1137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139" name="图片 1138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018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1019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0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1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2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3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24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5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6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7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9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0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1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2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3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4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5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6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7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8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39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0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1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2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3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4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5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6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7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48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9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0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1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2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3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4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5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6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57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8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9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0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1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2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3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4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5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6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7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8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9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0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1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2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3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4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75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6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7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8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9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0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1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2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3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4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5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6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7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8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9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0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1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2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3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4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5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6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7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8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99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0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1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2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3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4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5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6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7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8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09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0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1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2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3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4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5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6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7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8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19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0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1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2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3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4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5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6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7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8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9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0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1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2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3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4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5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6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7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69" name="组合 768"/>
              <p:cNvGrpSpPr/>
              <p:nvPr/>
            </p:nvGrpSpPr>
            <p:grpSpPr>
              <a:xfrm>
                <a:off x="3155845" y="3738892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894" name="组合 893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1015" name="矩形 1014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1016" name="图片 1015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895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27300" cy="2695576"/>
                  <a:chOff x="1770" y="1397"/>
                  <a:chExt cx="1592" cy="1698"/>
                </a:xfrm>
              </p:grpSpPr>
              <p:sp>
                <p:nvSpPr>
                  <p:cNvPr id="896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7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8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9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0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1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2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3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4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5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6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07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8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09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0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1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2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3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4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5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6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7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18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19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0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1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2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3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4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5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6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7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28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29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0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1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2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3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4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5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6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7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8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39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0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1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2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3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4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5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6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7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48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49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0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1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52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3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4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5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6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7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8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59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0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1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2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3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4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5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6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7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8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69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0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1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2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3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4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5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76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7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8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1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2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3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4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5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6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7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88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89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0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1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2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3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994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5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6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7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8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99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0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1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2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3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4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5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6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7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8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9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0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1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2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3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4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  <p:grpSp>
            <p:nvGrpSpPr>
              <p:cNvPr id="770" name="组合 769"/>
              <p:cNvGrpSpPr/>
              <p:nvPr/>
            </p:nvGrpSpPr>
            <p:grpSpPr>
              <a:xfrm>
                <a:off x="3088092" y="3697450"/>
                <a:ext cx="5066494" cy="2695576"/>
                <a:chOff x="2809876" y="2217738"/>
                <a:chExt cx="5066494" cy="2695576"/>
              </a:xfrm>
            </p:grpSpPr>
            <p:grpSp>
              <p:nvGrpSpPr>
                <p:cNvPr id="771" name="组合 770"/>
                <p:cNvGrpSpPr/>
                <p:nvPr/>
              </p:nvGrpSpPr>
              <p:grpSpPr>
                <a:xfrm>
                  <a:off x="5319036" y="2389419"/>
                  <a:ext cx="2557334" cy="2032547"/>
                  <a:chOff x="5319036" y="2389419"/>
                  <a:chExt cx="2557334" cy="2032547"/>
                </a:xfrm>
              </p:grpSpPr>
              <p:sp>
                <p:nvSpPr>
                  <p:cNvPr id="892" name="矩形 891"/>
                  <p:cNvSpPr/>
                  <p:nvPr/>
                </p:nvSpPr>
                <p:spPr>
                  <a:xfrm>
                    <a:off x="5319036" y="3281527"/>
                    <a:ext cx="619387" cy="248332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/>
                  </a:p>
                </p:txBody>
              </p:sp>
              <p:pic>
                <p:nvPicPr>
                  <p:cNvPr id="893" name="图片 892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5894334" y="2389419"/>
                    <a:ext cx="1982036" cy="2032547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72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2809876" y="2217738"/>
                  <a:ext cx="2540000" cy="2695576"/>
                  <a:chOff x="1770" y="1397"/>
                  <a:chExt cx="1600" cy="1698"/>
                </a:xfrm>
              </p:grpSpPr>
              <p:sp>
                <p:nvSpPr>
                  <p:cNvPr id="773" name="Rectangle 5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4" name="Rectangle 6"/>
                  <p:cNvSpPr>
                    <a:spLocks noChangeArrowheads="1"/>
                  </p:cNvSpPr>
                  <p:nvPr/>
                </p:nvSpPr>
                <p:spPr bwMode="auto">
                  <a:xfrm>
                    <a:off x="1770" y="1397"/>
                    <a:ext cx="1372" cy="148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5" name="Rectangle 10"/>
                  <p:cNvSpPr>
                    <a:spLocks noChangeArrowheads="1"/>
                  </p:cNvSpPr>
                  <p:nvPr/>
                </p:nvSpPr>
                <p:spPr bwMode="auto">
                  <a:xfrm>
                    <a:off x="1786" y="2050"/>
                    <a:ext cx="90" cy="18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6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233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7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1856" y="215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78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79" name="Rectangle 14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57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0" name="Line 15"/>
                  <p:cNvSpPr>
                    <a:spLocks noChangeShapeType="1"/>
                  </p:cNvSpPr>
                  <p:nvPr/>
                </p:nvSpPr>
                <p:spPr bwMode="auto">
                  <a:xfrm>
                    <a:off x="3142" y="1854"/>
                    <a:ext cx="0" cy="572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1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2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3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4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5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6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87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8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89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0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1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2781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2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2809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3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4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621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5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6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7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1916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798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99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0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212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1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2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3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2509" y="2507"/>
                    <a:ext cx="140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4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536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5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6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7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08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09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0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1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2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3" name="Rectangle 48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4" name="Rectangle 49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5" name="Rectangle 50"/>
                  <p:cNvSpPr>
                    <a:spLocks noChangeArrowheads="1"/>
                  </p:cNvSpPr>
                  <p:nvPr/>
                </p:nvSpPr>
                <p:spPr bwMode="auto">
                  <a:xfrm>
                    <a:off x="2236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6" name="Rectangle 51"/>
                  <p:cNvSpPr>
                    <a:spLocks noChangeArrowheads="1"/>
                  </p:cNvSpPr>
                  <p:nvPr/>
                </p:nvSpPr>
                <p:spPr bwMode="auto">
                  <a:xfrm>
                    <a:off x="2263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17" name="Rectangle 5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8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621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19" name="Rectangle 54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659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0" name="Rectangle 55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1" name="Rectangle 56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1916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2" name="Rectangle 57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1956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3" name="Rectangle 58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4" name="Rectangle 59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212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5" name="Rectangle 60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250"/>
                    <a:ext cx="121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6" name="Rectangle 61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7" name="Rectangle 62"/>
                  <p:cNvSpPr>
                    <a:spLocks noChangeArrowheads="1"/>
                  </p:cNvSpPr>
                  <p:nvPr/>
                </p:nvSpPr>
                <p:spPr bwMode="auto">
                  <a:xfrm>
                    <a:off x="1963" y="2507"/>
                    <a:ext cx="141" cy="15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28" name="Rectangle 63"/>
                  <p:cNvSpPr>
                    <a:spLocks noChangeArrowheads="1"/>
                  </p:cNvSpPr>
                  <p:nvPr/>
                </p:nvSpPr>
                <p:spPr bwMode="auto">
                  <a:xfrm>
                    <a:off x="1990" y="2547"/>
                    <a:ext cx="121" cy="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ASIC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29" name="Oval 64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0" name="Oval 65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1" name="Oval 66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2" name="Oval 67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3" name="Oval 68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4" name="Oval 69"/>
                  <p:cNvSpPr>
                    <a:spLocks noChangeArrowheads="1"/>
                  </p:cNvSpPr>
                  <p:nvPr/>
                </p:nvSpPr>
                <p:spPr bwMode="auto">
                  <a:xfrm>
                    <a:off x="1796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5" name="Oval 70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6" name="Oval 71"/>
                  <p:cNvSpPr>
                    <a:spLocks noChangeArrowheads="1"/>
                  </p:cNvSpPr>
                  <p:nvPr/>
                </p:nvSpPr>
                <p:spPr bwMode="auto">
                  <a:xfrm>
                    <a:off x="1809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7" name="Oval 72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8" name="Oval 73"/>
                  <p:cNvSpPr>
                    <a:spLocks noChangeArrowheads="1"/>
                  </p:cNvSpPr>
                  <p:nvPr/>
                </p:nvSpPr>
                <p:spPr bwMode="auto">
                  <a:xfrm>
                    <a:off x="3063" y="2802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39" name="Oval 74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0" name="Oval 75"/>
                  <p:cNvSpPr>
                    <a:spLocks noChangeArrowheads="1"/>
                  </p:cNvSpPr>
                  <p:nvPr/>
                </p:nvSpPr>
                <p:spPr bwMode="auto">
                  <a:xfrm>
                    <a:off x="3076" y="2817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1" name="Oval 76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solidFill>
                    <a:srgbClr val="000000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2" name="Oval 77"/>
                  <p:cNvSpPr>
                    <a:spLocks noChangeArrowheads="1"/>
                  </p:cNvSpPr>
                  <p:nvPr/>
                </p:nvSpPr>
                <p:spPr bwMode="auto">
                  <a:xfrm>
                    <a:off x="3067" y="1425"/>
                    <a:ext cx="44" cy="48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3" name="Oval 78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solidFill>
                    <a:srgbClr val="FFFFFF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4" name="Oval 79"/>
                  <p:cNvSpPr>
                    <a:spLocks noChangeArrowheads="1"/>
                  </p:cNvSpPr>
                  <p:nvPr/>
                </p:nvSpPr>
                <p:spPr bwMode="auto">
                  <a:xfrm>
                    <a:off x="3080" y="1440"/>
                    <a:ext cx="18" cy="19"/>
                  </a:xfrm>
                  <a:prstGeom prst="ellips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5" name="Rectangle 80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6" name="Rectangle 81"/>
                  <p:cNvSpPr>
                    <a:spLocks noChangeArrowheads="1"/>
                  </p:cNvSpPr>
                  <p:nvPr/>
                </p:nvSpPr>
                <p:spPr bwMode="auto">
                  <a:xfrm>
                    <a:off x="3177" y="2350"/>
                    <a:ext cx="185" cy="76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7" name="Rectangle 82"/>
                  <p:cNvSpPr>
                    <a:spLocks noChangeArrowheads="1"/>
                  </p:cNvSpPr>
                  <p:nvPr/>
                </p:nvSpPr>
                <p:spPr bwMode="auto">
                  <a:xfrm>
                    <a:off x="3207" y="2350"/>
                    <a:ext cx="163" cy="7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Power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48" name="Rectangle 83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49" name="Rectangle 84"/>
                  <p:cNvSpPr>
                    <a:spLocks noChangeArrowheads="1"/>
                  </p:cNvSpPr>
                  <p:nvPr/>
                </p:nvSpPr>
                <p:spPr bwMode="auto">
                  <a:xfrm>
                    <a:off x="3252" y="1999"/>
                    <a:ext cx="110" cy="282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0" name="Rectangle 85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02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连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1" name="Rectangle 86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08"/>
                    <a:ext cx="65" cy="8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接</a:t>
                    </a: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2" name="Rectangle 87"/>
                  <p:cNvSpPr>
                    <a:spLocks noChangeArrowheads="1"/>
                  </p:cNvSpPr>
                  <p:nvPr/>
                </p:nvSpPr>
                <p:spPr bwMode="auto">
                  <a:xfrm>
                    <a:off x="3279" y="2187"/>
                    <a:ext cx="65" cy="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rPr>
                      <a:t>器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53" name="Line 8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32" y="2016"/>
                    <a:ext cx="20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4" name="Freeform 89"/>
                  <p:cNvSpPr>
                    <a:spLocks/>
                  </p:cNvSpPr>
                  <p:nvPr/>
                </p:nvSpPr>
                <p:spPr bwMode="auto">
                  <a:xfrm>
                    <a:off x="3213" y="2005"/>
                    <a:ext cx="21" cy="23"/>
                  </a:xfrm>
                  <a:custGeom>
                    <a:avLst/>
                    <a:gdLst>
                      <a:gd name="T0" fmla="*/ 21 w 21"/>
                      <a:gd name="T1" fmla="*/ 23 h 23"/>
                      <a:gd name="T2" fmla="*/ 0 w 21"/>
                      <a:gd name="T3" fmla="*/ 11 h 23"/>
                      <a:gd name="T4" fmla="*/ 21 w 21"/>
                      <a:gd name="T5" fmla="*/ 0 h 23"/>
                      <a:gd name="T6" fmla="*/ 21 w 21"/>
                      <a:gd name="T7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3">
                        <a:moveTo>
                          <a:pt x="21" y="23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5" name="Line 90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00" y="2196"/>
                    <a:ext cx="5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6" name="Freeform 91"/>
                  <p:cNvSpPr>
                    <a:spLocks/>
                  </p:cNvSpPr>
                  <p:nvPr/>
                </p:nvSpPr>
                <p:spPr bwMode="auto">
                  <a:xfrm>
                    <a:off x="3182" y="2185"/>
                    <a:ext cx="21" cy="22"/>
                  </a:xfrm>
                  <a:custGeom>
                    <a:avLst/>
                    <a:gdLst>
                      <a:gd name="T0" fmla="*/ 21 w 21"/>
                      <a:gd name="T1" fmla="*/ 22 h 22"/>
                      <a:gd name="T2" fmla="*/ 0 w 21"/>
                      <a:gd name="T3" fmla="*/ 11 h 22"/>
                      <a:gd name="T4" fmla="*/ 21 w 21"/>
                      <a:gd name="T5" fmla="*/ 0 h 22"/>
                      <a:gd name="T6" fmla="*/ 21 w 21"/>
                      <a:gd name="T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" h="22">
                        <a:moveTo>
                          <a:pt x="21" y="22"/>
                        </a:moveTo>
                        <a:lnTo>
                          <a:pt x="0" y="11"/>
                        </a:lnTo>
                        <a:lnTo>
                          <a:pt x="21" y="0"/>
                        </a:lnTo>
                        <a:lnTo>
                          <a:pt x="2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7" name="Rectangle 92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8" name="Rectangle 93"/>
                  <p:cNvSpPr>
                    <a:spLocks noChangeArrowheads="1"/>
                  </p:cNvSpPr>
                  <p:nvPr/>
                </p:nvSpPr>
                <p:spPr bwMode="auto">
                  <a:xfrm>
                    <a:off x="3142" y="1854"/>
                    <a:ext cx="220" cy="7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59" name="Rectangle 94"/>
                  <p:cNvSpPr>
                    <a:spLocks noChangeArrowheads="1"/>
                  </p:cNvSpPr>
                  <p:nvPr/>
                </p:nvSpPr>
                <p:spPr bwMode="auto">
                  <a:xfrm>
                    <a:off x="3186" y="1865"/>
                    <a:ext cx="154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Test Por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0" name="Rectangle 95"/>
                  <p:cNvSpPr>
                    <a:spLocks noChangeArrowheads="1"/>
                  </p:cNvSpPr>
                  <p:nvPr/>
                </p:nvSpPr>
                <p:spPr bwMode="auto">
                  <a:xfrm>
                    <a:off x="1870" y="1506"/>
                    <a:ext cx="1171" cy="1268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1" name="Rectangle 104"/>
                  <p:cNvSpPr>
                    <a:spLocks noChangeArrowheads="1"/>
                  </p:cNvSpPr>
                  <p:nvPr/>
                </p:nvSpPr>
                <p:spPr bwMode="auto">
                  <a:xfrm>
                    <a:off x="2375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2" name="Rectangle 105"/>
                  <p:cNvSpPr>
                    <a:spLocks noChangeArrowheads="1"/>
                  </p:cNvSpPr>
                  <p:nvPr/>
                </p:nvSpPr>
                <p:spPr bwMode="auto">
                  <a:xfrm>
                    <a:off x="2450" y="2921"/>
                    <a:ext cx="0" cy="17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zh-CN" sz="18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3" name="Rectangle 106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4" name="Rectangle 107"/>
                  <p:cNvSpPr>
                    <a:spLocks noChangeArrowheads="1"/>
                  </p:cNvSpPr>
                  <p:nvPr/>
                </p:nvSpPr>
                <p:spPr bwMode="auto">
                  <a:xfrm>
                    <a:off x="2965" y="1941"/>
                    <a:ext cx="248" cy="123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65" name="Rectangle 108"/>
                  <p:cNvSpPr>
                    <a:spLocks noChangeArrowheads="1"/>
                  </p:cNvSpPr>
                  <p:nvPr/>
                </p:nvSpPr>
                <p:spPr bwMode="auto">
                  <a:xfrm>
                    <a:off x="2996" y="1953"/>
                    <a:ext cx="209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LVDS 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6" name="Rectangle 109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001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7" name="Rectangle 110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001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8" name="Rectangle 111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001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9" name="Rectangle 112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0" name="Rectangle 113"/>
                  <p:cNvSpPr>
                    <a:spLocks noChangeArrowheads="1"/>
                  </p:cNvSpPr>
                  <p:nvPr/>
                </p:nvSpPr>
                <p:spPr bwMode="auto">
                  <a:xfrm>
                    <a:off x="2997" y="2111"/>
                    <a:ext cx="185" cy="170"/>
                  </a:xfrm>
                  <a:prstGeom prst="rect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1" name="Rectangle 114"/>
                  <p:cNvSpPr>
                    <a:spLocks noChangeArrowheads="1"/>
                  </p:cNvSpPr>
                  <p:nvPr/>
                </p:nvSpPr>
                <p:spPr bwMode="auto">
                  <a:xfrm>
                    <a:off x="3045" y="2121"/>
                    <a:ext cx="149" cy="7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COMS 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2" name="Rectangle 115"/>
                  <p:cNvSpPr>
                    <a:spLocks noChangeArrowheads="1"/>
                  </p:cNvSpPr>
                  <p:nvPr/>
                </p:nvSpPr>
                <p:spPr bwMode="auto">
                  <a:xfrm>
                    <a:off x="3038" y="2171"/>
                    <a:ext cx="126" cy="6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Fanout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3" name="Rectangle 116"/>
                  <p:cNvSpPr>
                    <a:spLocks noChangeArrowheads="1"/>
                  </p:cNvSpPr>
                  <p:nvPr/>
                </p:nvSpPr>
                <p:spPr bwMode="auto">
                  <a:xfrm>
                    <a:off x="3068" y="2219"/>
                    <a:ext cx="37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1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4" name="Rectangle 117"/>
                  <p:cNvSpPr>
                    <a:spLocks noChangeArrowheads="1"/>
                  </p:cNvSpPr>
                  <p:nvPr/>
                </p:nvSpPr>
                <p:spPr bwMode="auto">
                  <a:xfrm>
                    <a:off x="3086" y="2219"/>
                    <a:ext cx="2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: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5" name="Rectangle 118"/>
                  <p:cNvSpPr>
                    <a:spLocks noChangeArrowheads="1"/>
                  </p:cNvSpPr>
                  <p:nvPr/>
                </p:nvSpPr>
                <p:spPr bwMode="auto">
                  <a:xfrm>
                    <a:off x="3096" y="2219"/>
                    <a:ext cx="38" cy="6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zh-CN" altLang="zh-CN" sz="5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rPr>
                      <a:t>4</a:t>
                    </a:r>
                    <a:endParaRPr kumimoji="0" lang="zh-CN" altLang="zh-CN" sz="1800" b="0" i="0" u="none" strike="noStrike" cap="none" normalizeH="0" baseline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76" name="Line 119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7" name="Line 120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8" name="Line 121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697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79" name="Freeform 122"/>
                  <p:cNvSpPr>
                    <a:spLocks/>
                  </p:cNvSpPr>
                  <p:nvPr/>
                </p:nvSpPr>
                <p:spPr bwMode="auto">
                  <a:xfrm>
                    <a:off x="2922" y="1697"/>
                    <a:ext cx="43" cy="258"/>
                  </a:xfrm>
                  <a:custGeom>
                    <a:avLst/>
                    <a:gdLst>
                      <a:gd name="T0" fmla="*/ 0 w 43"/>
                      <a:gd name="T1" fmla="*/ 0 h 258"/>
                      <a:gd name="T2" fmla="*/ 11 w 43"/>
                      <a:gd name="T3" fmla="*/ 0 h 258"/>
                      <a:gd name="T4" fmla="*/ 11 w 43"/>
                      <a:gd name="T5" fmla="*/ 258 h 258"/>
                      <a:gd name="T6" fmla="*/ 43 w 43"/>
                      <a:gd name="T7" fmla="*/ 258 h 2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58">
                        <a:moveTo>
                          <a:pt x="0" y="0"/>
                        </a:moveTo>
                        <a:lnTo>
                          <a:pt x="11" y="0"/>
                        </a:lnTo>
                        <a:lnTo>
                          <a:pt x="11" y="258"/>
                        </a:lnTo>
                        <a:lnTo>
                          <a:pt x="43" y="258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0" name="Line 123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1" name="Line 124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2" name="Line 125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1992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3" name="Line 126"/>
                  <p:cNvSpPr>
                    <a:spLocks noChangeShapeType="1"/>
                  </p:cNvSpPr>
                  <p:nvPr/>
                </p:nvSpPr>
                <p:spPr bwMode="auto">
                  <a:xfrm>
                    <a:off x="2922" y="1992"/>
                    <a:ext cx="43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4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5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6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288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7" name="Freeform 130"/>
                  <p:cNvSpPr>
                    <a:spLocks/>
                  </p:cNvSpPr>
                  <p:nvPr/>
                </p:nvSpPr>
                <p:spPr bwMode="auto">
                  <a:xfrm>
                    <a:off x="2922" y="2012"/>
                    <a:ext cx="43" cy="276"/>
                  </a:xfrm>
                  <a:custGeom>
                    <a:avLst/>
                    <a:gdLst>
                      <a:gd name="T0" fmla="*/ 0 w 43"/>
                      <a:gd name="T1" fmla="*/ 276 h 276"/>
                      <a:gd name="T2" fmla="*/ 11 w 43"/>
                      <a:gd name="T3" fmla="*/ 276 h 276"/>
                      <a:gd name="T4" fmla="*/ 11 w 43"/>
                      <a:gd name="T5" fmla="*/ 0 h 276"/>
                      <a:gd name="T6" fmla="*/ 43 w 43"/>
                      <a:gd name="T7" fmla="*/ 0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276">
                        <a:moveTo>
                          <a:pt x="0" y="276"/>
                        </a:moveTo>
                        <a:lnTo>
                          <a:pt x="11" y="276"/>
                        </a:lnTo>
                        <a:lnTo>
                          <a:pt x="1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8" name="Freeform 131"/>
                  <p:cNvSpPr>
                    <a:spLocks/>
                  </p:cNvSpPr>
                  <p:nvPr/>
                </p:nvSpPr>
                <p:spPr bwMode="auto">
                  <a:xfrm>
                    <a:off x="2922" y="2051"/>
                    <a:ext cx="43" cy="532"/>
                  </a:xfrm>
                  <a:custGeom>
                    <a:avLst/>
                    <a:gdLst>
                      <a:gd name="T0" fmla="*/ 0 w 43"/>
                      <a:gd name="T1" fmla="*/ 532 h 532"/>
                      <a:gd name="T2" fmla="*/ 21 w 43"/>
                      <a:gd name="T3" fmla="*/ 532 h 532"/>
                      <a:gd name="T4" fmla="*/ 21 w 43"/>
                      <a:gd name="T5" fmla="*/ 0 h 532"/>
                      <a:gd name="T6" fmla="*/ 43 w 43"/>
                      <a:gd name="T7" fmla="*/ 0 h 5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3" h="532">
                        <a:moveTo>
                          <a:pt x="0" y="532"/>
                        </a:moveTo>
                        <a:lnTo>
                          <a:pt x="21" y="532"/>
                        </a:lnTo>
                        <a:lnTo>
                          <a:pt x="21" y="0"/>
                        </a:lnTo>
                        <a:lnTo>
                          <a:pt x="43" y="0"/>
                        </a:lnTo>
                      </a:path>
                    </a:pathLst>
                  </a:cu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89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2104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0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2377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  <p:sp>
                <p:nvSpPr>
                  <p:cNvPr id="891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2649" y="2583"/>
                    <a:ext cx="132" cy="0"/>
                  </a:xfrm>
                  <a:prstGeom prst="line">
                    <a:avLst/>
                  </a:prstGeom>
                  <a:noFill/>
                  <a:ln w="7938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zh-CN" altLang="en-US"/>
                  </a:p>
                </p:txBody>
              </p:sp>
            </p:grpSp>
          </p:grpSp>
        </p:grpSp>
        <p:sp>
          <p:nvSpPr>
            <p:cNvPr id="762" name="矩形 761"/>
            <p:cNvSpPr/>
            <p:nvPr/>
          </p:nvSpPr>
          <p:spPr>
            <a:xfrm>
              <a:off x="7071360" y="2602230"/>
              <a:ext cx="742950" cy="826770"/>
            </a:xfrm>
            <a:prstGeom prst="rect">
              <a:avLst/>
            </a:prstGeom>
            <a:solidFill>
              <a:schemeClr val="bg1"/>
            </a:solidFill>
            <a:ln w="31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 smtClean="0">
                  <a:solidFill>
                    <a:schemeClr val="tx1"/>
                  </a:solidFill>
                </a:rPr>
                <a:t>DAQ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763" name="右箭头 762"/>
            <p:cNvSpPr/>
            <p:nvPr/>
          </p:nvSpPr>
          <p:spPr>
            <a:xfrm>
              <a:off x="6248400" y="2865120"/>
              <a:ext cx="822960" cy="304800"/>
            </a:xfrm>
            <a:prstGeom prst="rightArrow">
              <a:avLst/>
            </a:prstGeom>
            <a:noFill/>
            <a:ln w="1270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171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E83E7-BF4F-4EA8-89C7-22E627A5D15F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630185" y="3113070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聆听！</a:t>
            </a:r>
            <a:endParaRPr lang="zh-CN" altLang="en-US" sz="66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05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26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CEPC</a:t>
            </a:r>
            <a:r>
              <a:rPr lang="zh-CN" altLang="en-US" dirty="0"/>
              <a:t>：环形正负电子对撞机</a:t>
            </a:r>
            <a:endParaRPr lang="en-US" altLang="zh-CN" dirty="0"/>
          </a:p>
          <a:p>
            <a:pPr lvl="1"/>
            <a:r>
              <a:rPr lang="zh-CN" altLang="en-US" dirty="0"/>
              <a:t>周长</a:t>
            </a:r>
            <a:r>
              <a:rPr lang="en-US" altLang="zh-CN" dirty="0"/>
              <a:t>50~70km</a:t>
            </a:r>
          </a:p>
          <a:p>
            <a:pPr lvl="1"/>
            <a:r>
              <a:rPr lang="zh-CN" altLang="en-US" dirty="0"/>
              <a:t>质心能量</a:t>
            </a:r>
            <a:r>
              <a:rPr lang="en-US" altLang="zh-CN" dirty="0"/>
              <a:t>240GeV</a:t>
            </a:r>
          </a:p>
          <a:p>
            <a:pPr lvl="1"/>
            <a:r>
              <a:rPr lang="en-US" altLang="zh-CN" dirty="0"/>
              <a:t>Higgs</a:t>
            </a:r>
            <a:r>
              <a:rPr lang="zh-CN" altLang="en-US" dirty="0" smtClean="0"/>
              <a:t>工厂</a:t>
            </a: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559587" y="6016807"/>
            <a:ext cx="984019" cy="365125"/>
          </a:xfrm>
        </p:spPr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314205" y="3438884"/>
            <a:ext cx="3996518" cy="2886551"/>
          </a:xfrm>
          <a:prstGeom prst="rect">
            <a:avLst/>
          </a:prstGeom>
        </p:spPr>
      </p:pic>
      <p:grpSp>
        <p:nvGrpSpPr>
          <p:cNvPr id="6" name="组合 5"/>
          <p:cNvGrpSpPr/>
          <p:nvPr/>
        </p:nvGrpSpPr>
        <p:grpSpPr>
          <a:xfrm>
            <a:off x="4953720" y="2996918"/>
            <a:ext cx="4190280" cy="3328517"/>
            <a:chOff x="63820" y="3374348"/>
            <a:chExt cx="4190280" cy="332851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0" y="3374348"/>
              <a:ext cx="4190280" cy="3328517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72546" y="5589280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ECAL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63820" y="4609335"/>
              <a:ext cx="71896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H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CAL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63820" y="6090169"/>
              <a:ext cx="10430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kern="1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rPr>
                <a:t>Tracker</a:t>
              </a:r>
            </a:p>
          </p:txBody>
        </p:sp>
      </p:grpSp>
      <p:sp>
        <p:nvSpPr>
          <p:cNvPr id="11" name="矩形 10"/>
          <p:cNvSpPr/>
          <p:nvPr/>
        </p:nvSpPr>
        <p:spPr>
          <a:xfrm>
            <a:off x="4976669" y="3110103"/>
            <a:ext cx="1020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Muon Tracker</a:t>
            </a:r>
          </a:p>
        </p:txBody>
      </p:sp>
      <p:sp>
        <p:nvSpPr>
          <p:cNvPr id="12" name="矩形 11"/>
          <p:cNvSpPr/>
          <p:nvPr/>
        </p:nvSpPr>
        <p:spPr>
          <a:xfrm>
            <a:off x="4976669" y="4231905"/>
            <a:ext cx="566702" cy="369332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8011671" y="5897405"/>
            <a:ext cx="718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1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rPr>
              <a:t>jet</a:t>
            </a:r>
          </a:p>
        </p:txBody>
      </p:sp>
      <p:cxnSp>
        <p:nvCxnSpPr>
          <p:cNvPr id="14" name="直接箭头连接符 13"/>
          <p:cNvCxnSpPr/>
          <p:nvPr/>
        </p:nvCxnSpPr>
        <p:spPr>
          <a:xfrm flipH="1">
            <a:off x="7210881" y="6082071"/>
            <a:ext cx="840715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5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和半数字读出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193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CEPC</a:t>
            </a:r>
            <a:r>
              <a:rPr lang="zh-CN" altLang="en-US" dirty="0" smtClean="0"/>
              <a:t>介绍</a:t>
            </a:r>
            <a:endParaRPr lang="en-US" altLang="zh-CN" dirty="0" smtClean="0"/>
          </a:p>
          <a:p>
            <a:pPr lvl="1"/>
            <a:r>
              <a:rPr lang="zh-CN" altLang="en-US" dirty="0"/>
              <a:t>粒子</a:t>
            </a:r>
            <a:r>
              <a:rPr lang="zh-CN" altLang="en-US" dirty="0" smtClean="0"/>
              <a:t>流算法和半数字化读出</a:t>
            </a:r>
            <a:endParaRPr lang="en-US" altLang="zh-CN" dirty="0" smtClean="0"/>
          </a:p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/>
              <a:t>测试结果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电子学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与电子学集成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109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(</a:t>
            </a:r>
            <a:r>
              <a:rPr lang="zh-CN" altLang="en-US" dirty="0" smtClean="0"/>
              <a:t>待定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zh-CN" altLang="en-US" dirty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940" y="1880766"/>
            <a:ext cx="1704941" cy="227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41" y="4165786"/>
            <a:ext cx="2857682" cy="2193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215694" y="2155057"/>
            <a:ext cx="2427287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  <a:cs typeface="Times New Roman" panose="02020603050405020304" pitchFamily="18" charset="0"/>
              </a:rPr>
              <a:t>典型的几何结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Cu:            t = 5µm </a:t>
            </a:r>
          </a:p>
          <a:p>
            <a:pPr>
              <a:defRPr/>
            </a:pPr>
            <a:r>
              <a:rPr lang="en-US" altLang="zh-CN" sz="1600" b="1" dirty="0" err="1" smtClean="0">
                <a:solidFill>
                  <a:srgbClr val="233DFF"/>
                </a:solidFill>
                <a:latin typeface="+mn-lt"/>
              </a:rPr>
              <a:t>Kapton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T = 5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径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     d = 60µm</a:t>
            </a:r>
          </a:p>
          <a:p>
            <a:pPr>
              <a:defRPr/>
            </a:pP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                 D = 80µm </a:t>
            </a:r>
          </a:p>
          <a:p>
            <a:pPr>
              <a:defRPr/>
            </a:pPr>
            <a:r>
              <a:rPr lang="zh-CN" altLang="en-US" sz="1600" b="1" dirty="0" smtClean="0">
                <a:solidFill>
                  <a:srgbClr val="233DFF"/>
                </a:solidFill>
                <a:latin typeface="+mn-lt"/>
              </a:rPr>
              <a:t>孔间距</a:t>
            </a:r>
            <a:r>
              <a:rPr lang="en-US" altLang="zh-CN" sz="1600" b="1" dirty="0" smtClean="0">
                <a:solidFill>
                  <a:srgbClr val="233DFF"/>
                </a:solidFill>
                <a:latin typeface="+mn-lt"/>
              </a:rPr>
              <a:t>:     P = 140µm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41" y="1868948"/>
            <a:ext cx="2924140" cy="221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0506" y="4315141"/>
            <a:ext cx="2736165" cy="207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圆柱形孔电场线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054" y="3848303"/>
            <a:ext cx="2450129" cy="300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399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smtClean="0"/>
              <a:t>结构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读出板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读出单元</a:t>
            </a:r>
            <a:r>
              <a:rPr lang="en-US" altLang="zh-CN" dirty="0" smtClean="0"/>
              <a:t>1cm*1cm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0" r="12327" b="2114"/>
          <a:stretch/>
        </p:blipFill>
        <p:spPr>
          <a:xfrm rot="10800000">
            <a:off x="5355878" y="3262868"/>
            <a:ext cx="3788122" cy="360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45" y="1722092"/>
            <a:ext cx="3017985" cy="185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9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自张紧工艺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59" y="1608205"/>
            <a:ext cx="5294284" cy="2174842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219" y="1425350"/>
            <a:ext cx="2807748" cy="2012839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775143" y="2297176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</a:t>
            </a:r>
            <a:r>
              <a:rPr lang="zh-CN" altLang="en-US" b="1" dirty="0" smtClean="0">
                <a:solidFill>
                  <a:srgbClr val="FFFF00"/>
                </a:solidFill>
              </a:rPr>
              <a:t> </a:t>
            </a:r>
            <a:r>
              <a:rPr lang="en-US" altLang="zh-CN" b="1" dirty="0" smtClean="0">
                <a:solidFill>
                  <a:srgbClr val="FFFF00"/>
                </a:solidFill>
              </a:rPr>
              <a:t>detector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05" y="3595379"/>
            <a:ext cx="4532575" cy="282577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168" y="4118518"/>
            <a:ext cx="1235636" cy="1779497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400" y="4375374"/>
            <a:ext cx="1313721" cy="896453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2129969" y="4823601"/>
            <a:ext cx="245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FF00"/>
                </a:solidFill>
              </a:rPr>
              <a:t>GEM detector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7047785" y="5410148"/>
            <a:ext cx="1904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Inner frame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3953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78</TotalTime>
  <Words>1237</Words>
  <Application>Microsoft Office PowerPoint</Application>
  <PresentationFormat>全屏显示(4:3)</PresentationFormat>
  <Paragraphs>492</Paragraphs>
  <Slides>29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41" baseType="lpstr">
      <vt:lpstr>黑体</vt:lpstr>
      <vt:lpstr>楷体</vt:lpstr>
      <vt:lpstr>宋体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自定义设计方案</vt:lpstr>
      <vt:lpstr>think-cell Slide</vt:lpstr>
      <vt:lpstr>PowerPoint 演示文稿</vt:lpstr>
      <vt:lpstr>目录</vt:lpstr>
      <vt:lpstr>背景</vt:lpstr>
      <vt:lpstr>CEPC介绍</vt:lpstr>
      <vt:lpstr>粒子流算法和半数字读出</vt:lpstr>
      <vt:lpstr>目录</vt:lpstr>
      <vt:lpstr>GEM探测器</vt:lpstr>
      <vt:lpstr>GEM探测器</vt:lpstr>
      <vt:lpstr>GEM探测器</vt:lpstr>
      <vt:lpstr>目录</vt:lpstr>
      <vt:lpstr>设计方案</vt:lpstr>
      <vt:lpstr>半数字化读出芯片</vt:lpstr>
      <vt:lpstr>第一阶段方案</vt:lpstr>
      <vt:lpstr>第一阶段方案</vt:lpstr>
      <vt:lpstr>目录</vt:lpstr>
      <vt:lpstr>PowerPoint 演示文稿</vt:lpstr>
      <vt:lpstr>芯片刻度</vt:lpstr>
      <vt:lpstr>电子学测试</vt:lpstr>
      <vt:lpstr>电子学测试</vt:lpstr>
      <vt:lpstr>电子学测试</vt:lpstr>
      <vt:lpstr>电子学测试</vt:lpstr>
      <vt:lpstr>探测器联调</vt:lpstr>
      <vt:lpstr>探测器联调</vt:lpstr>
      <vt:lpstr>增益均匀性测量</vt:lpstr>
      <vt:lpstr>串扰和效率测量</vt:lpstr>
      <vt:lpstr>目录</vt:lpstr>
      <vt:lpstr>50cm*100cm探测器设计</vt:lpstr>
      <vt:lpstr>探测器与电子学集成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王宇</cp:lastModifiedBy>
  <cp:revision>9</cp:revision>
  <dcterms:created xsi:type="dcterms:W3CDTF">2017-11-03T08:04:33Z</dcterms:created>
  <dcterms:modified xsi:type="dcterms:W3CDTF">2017-11-06T04:07:43Z</dcterms:modified>
</cp:coreProperties>
</file>